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ags/tag98.xml" ContentType="application/vnd.openxmlformats-officedocument.presentationml.tags+xml"/>
  <Override PartName="/ppt/theme/theme5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23" r:id="rId2"/>
    <p:sldMasterId id="2147483835" r:id="rId3"/>
    <p:sldMasterId id="2147483854" r:id="rId4"/>
  </p:sldMasterIdLst>
  <p:notesMasterIdLst>
    <p:notesMasterId r:id="rId12"/>
  </p:notesMasterIdLst>
  <p:sldIdLst>
    <p:sldId id="270" r:id="rId5"/>
    <p:sldId id="1325" r:id="rId6"/>
    <p:sldId id="1329" r:id="rId7"/>
    <p:sldId id="1330" r:id="rId8"/>
    <p:sldId id="1331" r:id="rId9"/>
    <p:sldId id="1328" r:id="rId10"/>
    <p:sldId id="1332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07D"/>
    <a:srgbClr val="C4D79B"/>
    <a:srgbClr val="333399"/>
    <a:srgbClr val="00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4" autoAdjust="0"/>
    <p:restoredTop sz="94660"/>
  </p:normalViewPr>
  <p:slideViewPr>
    <p:cSldViewPr snapToGrid="0">
      <p:cViewPr varScale="1">
        <p:scale>
          <a:sx n="50" d="100"/>
          <a:sy n="50" d="100"/>
        </p:scale>
        <p:origin x="819" y="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v>Health Boroughs</c:v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7030A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ABB-4B41-8485-DDBFFAE0EBBB}"/>
              </c:ext>
            </c:extLst>
          </c:dPt>
          <c:cat>
            <c:strRef>
              <c:f>'Chart Source'!$B$4:$B$11</c:f>
              <c:strCache>
                <c:ptCount val="8"/>
                <c:pt idx="0">
                  <c:v>Brent</c:v>
                </c:pt>
                <c:pt idx="1">
                  <c:v>Central</c:v>
                </c:pt>
                <c:pt idx="2">
                  <c:v>Ealing</c:v>
                </c:pt>
                <c:pt idx="3">
                  <c:v>H&amp;F</c:v>
                </c:pt>
                <c:pt idx="4">
                  <c:v>Harrow</c:v>
                </c:pt>
                <c:pt idx="5">
                  <c:v>Hillingdon</c:v>
                </c:pt>
                <c:pt idx="6">
                  <c:v>Hounslow</c:v>
                </c:pt>
                <c:pt idx="7">
                  <c:v>West London</c:v>
                </c:pt>
              </c:strCache>
            </c:strRef>
          </c:cat>
          <c:val>
            <c:numRef>
              <c:f>'Chart Source'!$C$4:$C$11</c:f>
              <c:numCache>
                <c:formatCode>0.0%</c:formatCode>
                <c:ptCount val="8"/>
                <c:pt idx="0">
                  <c:v>0.74303405572755421</c:v>
                </c:pt>
                <c:pt idx="1">
                  <c:v>0.85314685314685312</c:v>
                </c:pt>
                <c:pt idx="2">
                  <c:v>0.80275229357798161</c:v>
                </c:pt>
                <c:pt idx="3">
                  <c:v>0.8257575757575758</c:v>
                </c:pt>
                <c:pt idx="4">
                  <c:v>0.86609686609686609</c:v>
                </c:pt>
                <c:pt idx="5">
                  <c:v>0.85855263157894735</c:v>
                </c:pt>
                <c:pt idx="6">
                  <c:v>0.81578947368421051</c:v>
                </c:pt>
                <c:pt idx="7">
                  <c:v>0.841121495327102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ABB-4B41-8485-DDBFFAE0EB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625420943"/>
        <c:axId val="1625422607"/>
      </c:barChart>
      <c:scatterChart>
        <c:scatterStyle val="smoothMarker"/>
        <c:varyColors val="0"/>
        <c:ser>
          <c:idx val="1"/>
          <c:order val="1"/>
          <c:tx>
            <c:v>NWL</c:v>
          </c:tx>
          <c:spPr>
            <a:ln w="317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spPr>
              <a:ln w="31750" cap="rnd">
                <a:solidFill>
                  <a:schemeClr val="accent2"/>
                </a:solidFill>
                <a:prstDash val="sysDash"/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4-0ABB-4B41-8485-DDBFFAE0EBBB}"/>
              </c:ext>
            </c:extLst>
          </c:dPt>
          <c:xVal>
            <c:numRef>
              <c:f>'Chart Source'!$B$13:$B$14</c:f>
              <c:numCache>
                <c:formatCode>General</c:formatCode>
                <c:ptCount val="2"/>
                <c:pt idx="0">
                  <c:v>0</c:v>
                </c:pt>
                <c:pt idx="1">
                  <c:v>1</c:v>
                </c:pt>
              </c:numCache>
            </c:numRef>
          </c:xVal>
          <c:yVal>
            <c:numRef>
              <c:f>'Chart Source'!$C$13:$C$14</c:f>
              <c:numCache>
                <c:formatCode>0.0%</c:formatCode>
                <c:ptCount val="2"/>
                <c:pt idx="0">
                  <c:v>0.82352941176470584</c:v>
                </c:pt>
                <c:pt idx="1">
                  <c:v>0.8235294117647058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5-0ABB-4B41-8485-DDBFFAE0EB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07814703"/>
        <c:axId val="307796399"/>
      </c:scatterChart>
      <c:catAx>
        <c:axId val="1625420943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25422607"/>
        <c:crosses val="autoZero"/>
        <c:auto val="1"/>
        <c:lblAlgn val="ctr"/>
        <c:lblOffset val="100"/>
        <c:noMultiLvlLbl val="0"/>
      </c:catAx>
      <c:valAx>
        <c:axId val="1625422607"/>
        <c:scaling>
          <c:orientation val="minMax"/>
          <c:max val="1"/>
          <c:min val="0.65000000000000013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/>
                  <a:t>% uptake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1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.0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25420943"/>
        <c:crosses val="autoZero"/>
        <c:crossBetween val="between"/>
        <c:majorUnit val="2.5000000000000005E-2"/>
      </c:valAx>
      <c:valAx>
        <c:axId val="307796399"/>
        <c:scaling>
          <c:orientation val="minMax"/>
        </c:scaling>
        <c:delete val="1"/>
        <c:axPos val="r"/>
        <c:numFmt formatCode="0.0%" sourceLinked="1"/>
        <c:majorTickMark val="out"/>
        <c:minorTickMark val="none"/>
        <c:tickLblPos val="nextTo"/>
        <c:crossAx val="307814703"/>
        <c:crosses val="max"/>
        <c:crossBetween val="midCat"/>
      </c:valAx>
      <c:valAx>
        <c:axId val="307814703"/>
        <c:scaling>
          <c:orientation val="minMax"/>
          <c:max val="1"/>
        </c:scaling>
        <c:delete val="1"/>
        <c:axPos val="t"/>
        <c:numFmt formatCode="General" sourceLinked="1"/>
        <c:majorTickMark val="out"/>
        <c:minorTickMark val="none"/>
        <c:tickLblPos val="nextTo"/>
        <c:crossAx val="307796399"/>
        <c:crosses val="max"/>
        <c:crossBetween val="midCat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709046-EEF4-4ED5-A7BC-044A203C1FE6}" type="datetimeFigureOut">
              <a:rPr lang="en-GB" smtClean="0"/>
              <a:t>10/02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22FA91-B034-44FC-8BEC-5B103CF3F9E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40994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10" Type="http://schemas.openxmlformats.org/officeDocument/2006/relationships/image" Target="../media/image7.png"/><Relationship Id="rId4" Type="http://schemas.openxmlformats.org/officeDocument/2006/relationships/tags" Target="../tags/tag23.xml"/><Relationship Id="rId9" Type="http://schemas.openxmlformats.org/officeDocument/2006/relationships/image" Target="../media/image6.emf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3.v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image" Target="../media/image5.emf"/><Relationship Id="rId4" Type="http://schemas.openxmlformats.org/officeDocument/2006/relationships/tags" Target="../tags/tag28.xml"/><Relationship Id="rId9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3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4.v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Relationship Id="rId9" Type="http://schemas.openxmlformats.org/officeDocument/2006/relationships/image" Target="../media/image6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3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5.v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9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13" Type="http://schemas.microsoft.com/office/2007/relationships/hdphoto" Target="../media/hdphoto2.wdp"/><Relationship Id="rId3" Type="http://schemas.openxmlformats.org/officeDocument/2006/relationships/tags" Target="../tags/tag43.xml"/><Relationship Id="rId7" Type="http://schemas.openxmlformats.org/officeDocument/2006/relationships/slideMaster" Target="../slideMasters/slideMaster3.xml"/><Relationship Id="rId12" Type="http://schemas.openxmlformats.org/officeDocument/2006/relationships/image" Target="../media/image9.png"/><Relationship Id="rId2" Type="http://schemas.openxmlformats.org/officeDocument/2006/relationships/tags" Target="../tags/tag42.xml"/><Relationship Id="rId1" Type="http://schemas.openxmlformats.org/officeDocument/2006/relationships/vmlDrawing" Target="../drawings/vmlDrawing6.vml"/><Relationship Id="rId6" Type="http://schemas.openxmlformats.org/officeDocument/2006/relationships/tags" Target="../tags/tag46.xml"/><Relationship Id="rId11" Type="http://schemas.microsoft.com/office/2007/relationships/hdphoto" Target="../media/hdphoto1.wdp"/><Relationship Id="rId5" Type="http://schemas.openxmlformats.org/officeDocument/2006/relationships/tags" Target="../tags/tag45.xml"/><Relationship Id="rId15" Type="http://schemas.microsoft.com/office/2007/relationships/hdphoto" Target="../media/hdphoto3.wdp"/><Relationship Id="rId10" Type="http://schemas.openxmlformats.org/officeDocument/2006/relationships/image" Target="../media/image8.png"/><Relationship Id="rId4" Type="http://schemas.openxmlformats.org/officeDocument/2006/relationships/tags" Target="../tags/tag44.xml"/><Relationship Id="rId9" Type="http://schemas.openxmlformats.org/officeDocument/2006/relationships/image" Target="../media/image6.emf"/><Relationship Id="rId14" Type="http://schemas.openxmlformats.org/officeDocument/2006/relationships/image" Target="../media/image10.pn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7.v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10" Type="http://schemas.openxmlformats.org/officeDocument/2006/relationships/image" Target="../media/image6.emf"/><Relationship Id="rId4" Type="http://schemas.openxmlformats.org/officeDocument/2006/relationships/tags" Target="../tags/tag49.xml"/><Relationship Id="rId9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image" Target="../media/image11.png"/><Relationship Id="rId2" Type="http://schemas.openxmlformats.org/officeDocument/2006/relationships/tags" Target="../tags/tag53.xml"/><Relationship Id="rId1" Type="http://schemas.openxmlformats.org/officeDocument/2006/relationships/vmlDrawing" Target="../drawings/vmlDrawing8.vml"/><Relationship Id="rId6" Type="http://schemas.openxmlformats.org/officeDocument/2006/relationships/tags" Target="../tags/tag57.xml"/><Relationship Id="rId11" Type="http://schemas.openxmlformats.org/officeDocument/2006/relationships/image" Target="../media/image5.emf"/><Relationship Id="rId5" Type="http://schemas.openxmlformats.org/officeDocument/2006/relationships/tags" Target="../tags/tag56.xml"/><Relationship Id="rId10" Type="http://schemas.openxmlformats.org/officeDocument/2006/relationships/oleObject" Target="../embeddings/oleObject8.bin"/><Relationship Id="rId4" Type="http://schemas.openxmlformats.org/officeDocument/2006/relationships/tags" Target="../tags/tag55.xml"/><Relationship Id="rId9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image" Target="../media/image11.png"/><Relationship Id="rId2" Type="http://schemas.openxmlformats.org/officeDocument/2006/relationships/tags" Target="../tags/tag60.xml"/><Relationship Id="rId1" Type="http://schemas.openxmlformats.org/officeDocument/2006/relationships/vmlDrawing" Target="../drawings/vmlDrawing9.vml"/><Relationship Id="rId6" Type="http://schemas.openxmlformats.org/officeDocument/2006/relationships/tags" Target="../tags/tag64.xml"/><Relationship Id="rId11" Type="http://schemas.openxmlformats.org/officeDocument/2006/relationships/image" Target="../media/image5.emf"/><Relationship Id="rId5" Type="http://schemas.openxmlformats.org/officeDocument/2006/relationships/tags" Target="../tags/tag63.xml"/><Relationship Id="rId10" Type="http://schemas.openxmlformats.org/officeDocument/2006/relationships/oleObject" Target="../embeddings/oleObject9.bin"/><Relationship Id="rId4" Type="http://schemas.openxmlformats.org/officeDocument/2006/relationships/tags" Target="../tags/tag62.xml"/><Relationship Id="rId9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image" Target="../media/image11.png"/><Relationship Id="rId2" Type="http://schemas.openxmlformats.org/officeDocument/2006/relationships/tags" Target="../tags/tag67.xml"/><Relationship Id="rId1" Type="http://schemas.openxmlformats.org/officeDocument/2006/relationships/vmlDrawing" Target="../drawings/vmlDrawing10.vml"/><Relationship Id="rId6" Type="http://schemas.openxmlformats.org/officeDocument/2006/relationships/tags" Target="../tags/tag71.xml"/><Relationship Id="rId11" Type="http://schemas.openxmlformats.org/officeDocument/2006/relationships/image" Target="../media/image5.emf"/><Relationship Id="rId5" Type="http://schemas.openxmlformats.org/officeDocument/2006/relationships/tags" Target="../tags/tag70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69.xml"/><Relationship Id="rId9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image" Target="../media/image11.png"/><Relationship Id="rId2" Type="http://schemas.openxmlformats.org/officeDocument/2006/relationships/tags" Target="../tags/tag74.xml"/><Relationship Id="rId1" Type="http://schemas.openxmlformats.org/officeDocument/2006/relationships/vmlDrawing" Target="../drawings/vmlDrawing11.vml"/><Relationship Id="rId6" Type="http://schemas.openxmlformats.org/officeDocument/2006/relationships/tags" Target="../tags/tag78.xml"/><Relationship Id="rId11" Type="http://schemas.openxmlformats.org/officeDocument/2006/relationships/image" Target="../media/image12.emf"/><Relationship Id="rId5" Type="http://schemas.openxmlformats.org/officeDocument/2006/relationships/tags" Target="../tags/tag77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76.xml"/><Relationship Id="rId9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12" Type="http://schemas.openxmlformats.org/officeDocument/2006/relationships/image" Target="../media/image11.png"/><Relationship Id="rId2" Type="http://schemas.openxmlformats.org/officeDocument/2006/relationships/tags" Target="../tags/tag81.xml"/><Relationship Id="rId1" Type="http://schemas.openxmlformats.org/officeDocument/2006/relationships/vmlDrawing" Target="../drawings/vmlDrawing12.vml"/><Relationship Id="rId6" Type="http://schemas.openxmlformats.org/officeDocument/2006/relationships/tags" Target="../tags/tag85.xml"/><Relationship Id="rId11" Type="http://schemas.openxmlformats.org/officeDocument/2006/relationships/image" Target="../media/image5.emf"/><Relationship Id="rId5" Type="http://schemas.openxmlformats.org/officeDocument/2006/relationships/tags" Target="../tags/tag84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83.xml"/><Relationship Id="rId9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89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88.xml"/><Relationship Id="rId1" Type="http://schemas.openxmlformats.org/officeDocument/2006/relationships/vmlDrawing" Target="../drawings/vmlDrawing13.vml"/><Relationship Id="rId6" Type="http://schemas.openxmlformats.org/officeDocument/2006/relationships/tags" Target="../tags/tag92.xml"/><Relationship Id="rId5" Type="http://schemas.openxmlformats.org/officeDocument/2006/relationships/tags" Target="../tags/tag91.xml"/><Relationship Id="rId10" Type="http://schemas.openxmlformats.org/officeDocument/2006/relationships/image" Target="../media/image11.png"/><Relationship Id="rId4" Type="http://schemas.openxmlformats.org/officeDocument/2006/relationships/tags" Target="../tags/tag90.xml"/><Relationship Id="rId9" Type="http://schemas.openxmlformats.org/officeDocument/2006/relationships/image" Target="../media/image6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94.xml"/><Relationship Id="rId7" Type="http://schemas.openxmlformats.org/officeDocument/2006/relationships/image" Target="../media/image6.emf"/><Relationship Id="rId2" Type="http://schemas.openxmlformats.org/officeDocument/2006/relationships/tags" Target="../tags/tag93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95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97.xml"/><Relationship Id="rId7" Type="http://schemas.openxmlformats.org/officeDocument/2006/relationships/image" Target="../media/image13.png"/><Relationship Id="rId2" Type="http://schemas.openxmlformats.org/officeDocument/2006/relationships/tags" Target="../tags/tag9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16.png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(NW London IC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080120"/>
            <a:ext cx="12192000" cy="5805264"/>
          </a:xfrm>
          <a:prstGeom prst="rect">
            <a:avLst/>
          </a:prstGeom>
          <a:solidFill>
            <a:srgbClr val="4B429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2202483"/>
            <a:ext cx="9144000" cy="2387600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682158"/>
            <a:ext cx="9144000" cy="90708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cxnSp>
        <p:nvCxnSpPr>
          <p:cNvPr id="26" name="Straight Connector 25"/>
          <p:cNvCxnSpPr/>
          <p:nvPr userDrawn="1"/>
        </p:nvCxnSpPr>
        <p:spPr>
          <a:xfrm flipV="1">
            <a:off x="3875" y="988048"/>
            <a:ext cx="2952328" cy="4173"/>
          </a:xfrm>
          <a:prstGeom prst="line">
            <a:avLst/>
          </a:prstGeom>
          <a:ln w="76200">
            <a:solidFill>
              <a:srgbClr val="F9A50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 flipV="1">
            <a:off x="3100219" y="985962"/>
            <a:ext cx="2952328" cy="4173"/>
          </a:xfrm>
          <a:prstGeom prst="line">
            <a:avLst/>
          </a:prstGeom>
          <a:ln w="76200">
            <a:solidFill>
              <a:srgbClr val="F246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 userDrawn="1"/>
        </p:nvCxnSpPr>
        <p:spPr>
          <a:xfrm flipV="1">
            <a:off x="6196561" y="985962"/>
            <a:ext cx="2952328" cy="4173"/>
          </a:xfrm>
          <a:prstGeom prst="line">
            <a:avLst/>
          </a:prstGeom>
          <a:ln w="76200">
            <a:solidFill>
              <a:srgbClr val="853E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 userDrawn="1"/>
        </p:nvCxnSpPr>
        <p:spPr>
          <a:xfrm flipV="1">
            <a:off x="9264352" y="983876"/>
            <a:ext cx="2952328" cy="4173"/>
          </a:xfrm>
          <a:prstGeom prst="line">
            <a:avLst/>
          </a:prstGeom>
          <a:ln w="76200">
            <a:solidFill>
              <a:srgbClr val="2A9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2" descr="C:\Users\abrjes\AppData\Local\Microsoft\Windows\INetCache\Content.Outlook\JXQ15T3X\NWL-ICS-logo-high-res.jpg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0418" y="87479"/>
            <a:ext cx="2233639" cy="74454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25520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BA9A94-15E1-4DF7-AAE7-593A6F3FD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63FD5DD-1B44-4BEE-B992-3D2CE062D3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149A37A1-C27C-4CF0-91EF-D859E1B337A1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10/02/2022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28BE47-729B-4732-8FDE-3780ABFA0F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2B1E9C9-D8FC-4C81-ABC3-1298FBF306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652C817E-C4EB-47EE-B1FD-53543A4A6CB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08159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74EBD91-EE7E-4770-A131-49EFD295FA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149A37A1-C27C-4CF0-91EF-D859E1B337A1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10/02/2022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363535-E70B-423C-9C94-15E568413A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2BA467-AB9A-467E-9D27-86C34C3DA1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652C817E-C4EB-47EE-B1FD-53543A4A6CB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0892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9227C0-F75A-4F91-9265-65083FA6F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EF03E5-3284-4146-B9DA-78444FC734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2D03B1-85B7-4CB9-AA87-EA23D0AA908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CD904E9-05B2-4C0B-98B8-79D18DAE22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149A37A1-C27C-4CF0-91EF-D859E1B337A1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10/02/2022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8ED8665-1360-4F6E-8265-18B3A94F34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7BBA90-6F1E-4E49-AEEE-9454C33DDB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652C817E-C4EB-47EE-B1FD-53543A4A6CB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1977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E4403F-5651-4127-BB79-3CB6E1C436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A8C975F-77BD-4FA8-B006-7DCE8CA0A67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CDB50B-EEED-46C2-97EF-CEAEE9C739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0E48655-561C-4742-8206-B062C61D46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149A37A1-C27C-4CF0-91EF-D859E1B337A1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10/02/2022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0627124-063E-40AA-A6AB-0293586140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386078-7BDC-481A-94C5-B29C7DDBA8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652C817E-C4EB-47EE-B1FD-53543A4A6CB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01964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65CFB8-881E-4449-9532-C4EB323B9C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E6F7E40-A933-4282-8D17-5986CE1DA5B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E99BDF-D942-4F6D-8ED4-A3609DEF51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149A37A1-C27C-4CF0-91EF-D859E1B337A1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10/02/2022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D9C5F9-E0A7-47E1-BC93-D5A8B53264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2A2BA9-32A8-422A-887A-039A753739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652C817E-C4EB-47EE-B1FD-53543A4A6CB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86807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3BD0971-0AD4-4BDC-BDA3-36C45BB668F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175EA76-B842-4C67-9869-E80CA3C4B88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1434E0-103F-4573-94E0-75EB3E6500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149A37A1-C27C-4CF0-91EF-D859E1B337A1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10/02/2022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53A9A7-DF90-4B91-8BF5-7175A07CFF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6B9CD9-F3A6-47F3-BAA6-6596B5A882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652C817E-C4EB-47EE-B1FD-53543A4A6CB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43950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05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54765" y="5595689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854765" y="4843667"/>
            <a:ext cx="9726795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800" baseline="0" dirty="0">
                <a:solidFill>
                  <a:schemeClr val="tx2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854765" y="1990340"/>
            <a:ext cx="9726795" cy="55399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600" baseline="0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03CDF93C-D60D-44E3-B025-9AEC0031336A}"/>
              </a:ext>
            </a:extLst>
          </p:cNvPr>
          <p:cNvSpPr txBox="1">
            <a:spLocks/>
          </p:cNvSpPr>
          <p:nvPr userDrawn="1"/>
        </p:nvSpPr>
        <p:spPr>
          <a:xfrm>
            <a:off x="-1" y="0"/>
            <a:ext cx="3462341" cy="5286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ICIAL SENSITIVE: COMMERCIA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46BCF20-1C5B-4776-880C-A2FC1A03E164}"/>
              </a:ext>
            </a:extLst>
          </p:cNvPr>
          <p:cNvSpPr/>
          <p:nvPr userDrawn="1"/>
        </p:nvSpPr>
        <p:spPr>
          <a:xfrm>
            <a:off x="0" y="6213600"/>
            <a:ext cx="7303911" cy="144000"/>
          </a:xfrm>
          <a:prstGeom prst="rect">
            <a:avLst/>
          </a:prstGeom>
          <a:solidFill>
            <a:srgbClr val="03AC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49A1433-ABBD-43E3-B567-199075CB131D}"/>
              </a:ext>
            </a:extLst>
          </p:cNvPr>
          <p:cNvSpPr/>
          <p:nvPr userDrawn="1"/>
        </p:nvSpPr>
        <p:spPr>
          <a:xfrm>
            <a:off x="2453983" y="6357600"/>
            <a:ext cx="7303911" cy="144000"/>
          </a:xfrm>
          <a:prstGeom prst="rect">
            <a:avLst/>
          </a:prstGeom>
          <a:solidFill>
            <a:srgbClr val="0072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4880A44-2A48-46AF-A0A3-5F6CF5EB326A}"/>
              </a:ext>
            </a:extLst>
          </p:cNvPr>
          <p:cNvSpPr/>
          <p:nvPr userDrawn="1"/>
        </p:nvSpPr>
        <p:spPr>
          <a:xfrm>
            <a:off x="4888089" y="6501600"/>
            <a:ext cx="7303911" cy="144000"/>
          </a:xfrm>
          <a:prstGeom prst="rect">
            <a:avLst/>
          </a:prstGeom>
          <a:solidFill>
            <a:srgbClr val="34BC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7" name="Picture 391">
            <a:extLst>
              <a:ext uri="{FF2B5EF4-FFF2-40B4-BE49-F238E27FC236}">
                <a16:creationId xmlns:a16="http://schemas.microsoft.com/office/drawing/2014/main" id="{394CE43B-24D4-4561-8859-7DC80ED541C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36425" y="365908"/>
            <a:ext cx="1308268" cy="529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38441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1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82016" y="332985"/>
            <a:ext cx="8523859" cy="369332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sz="2400" b="0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82016" y="713275"/>
            <a:ext cx="8523859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38201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EFC71A6-15D3-4D8D-A19C-697370C18C1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382016" y="625491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5B166D08-699A-4AC3-BE85-5E34D65543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0676" y="6377502"/>
            <a:ext cx="5723164" cy="27699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200" baseline="0">
                <a:solidFill>
                  <a:srgbClr val="34BCEE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4BCE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VID-19 Vaccine Deployment Programme</a:t>
            </a:r>
          </a:p>
        </p:txBody>
      </p:sp>
    </p:spTree>
    <p:extLst>
      <p:ext uri="{BB962C8B-B14F-4D97-AF65-F5344CB8AC3E}">
        <p14:creationId xmlns:p14="http://schemas.microsoft.com/office/powerpoint/2010/main" val="37752131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57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8201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38201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FF0B9959-A687-4871-83FA-6E7B062F183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82016" y="625491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A80DB420-77FC-4823-85DC-70D25458B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0676" y="6377502"/>
            <a:ext cx="5723164" cy="27699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200" baseline="0">
                <a:solidFill>
                  <a:srgbClr val="34BCEE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4BCE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VID-19 Vaccine Deployment Programme</a:t>
            </a:r>
          </a:p>
        </p:txBody>
      </p:sp>
    </p:spTree>
    <p:extLst>
      <p:ext uri="{BB962C8B-B14F-4D97-AF65-F5344CB8AC3E}">
        <p14:creationId xmlns:p14="http://schemas.microsoft.com/office/powerpoint/2010/main" val="30941389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33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82016" y="3244334"/>
            <a:ext cx="5065776" cy="369332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38201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7088B171-16E3-47AC-B4E0-F17D0F19564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82016" y="625491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7C48E02F-7872-4E2D-8E07-CB2FD75010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0676" y="6377502"/>
            <a:ext cx="5723164" cy="27699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200" baseline="0">
                <a:solidFill>
                  <a:srgbClr val="34BCEE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4BCE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VID-19 Vaccine Deployment Programme</a:t>
            </a:r>
          </a:p>
        </p:txBody>
      </p:sp>
    </p:spTree>
    <p:extLst>
      <p:ext uri="{BB962C8B-B14F-4D97-AF65-F5344CB8AC3E}">
        <p14:creationId xmlns:p14="http://schemas.microsoft.com/office/powerpoint/2010/main" val="157680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 (NW London IC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989" y="1397238"/>
            <a:ext cx="11386643" cy="44800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6F84FA-B8EB-462F-97BA-032CB76B4E3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1196752"/>
          </a:xfrm>
          <a:prstGeom prst="rect">
            <a:avLst/>
          </a:prstGeom>
          <a:solidFill>
            <a:srgbClr val="4B429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7368" y="326582"/>
            <a:ext cx="11377264" cy="54359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>
          <a:xfrm flipV="1">
            <a:off x="13836" y="6081932"/>
            <a:ext cx="2952328" cy="4173"/>
          </a:xfrm>
          <a:prstGeom prst="line">
            <a:avLst/>
          </a:prstGeom>
          <a:ln w="76200">
            <a:solidFill>
              <a:srgbClr val="F9A50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 flipV="1">
            <a:off x="3110180" y="6079845"/>
            <a:ext cx="2952328" cy="4173"/>
          </a:xfrm>
          <a:prstGeom prst="line">
            <a:avLst/>
          </a:prstGeom>
          <a:ln w="76200">
            <a:solidFill>
              <a:srgbClr val="F246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 flipV="1">
            <a:off x="6206524" y="6079845"/>
            <a:ext cx="2952328" cy="4173"/>
          </a:xfrm>
          <a:prstGeom prst="line">
            <a:avLst/>
          </a:prstGeom>
          <a:ln w="76200">
            <a:solidFill>
              <a:srgbClr val="853E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 flipV="1">
            <a:off x="9274313" y="6077758"/>
            <a:ext cx="2952328" cy="4173"/>
          </a:xfrm>
          <a:prstGeom prst="line">
            <a:avLst/>
          </a:prstGeom>
          <a:ln w="76200">
            <a:solidFill>
              <a:srgbClr val="2A9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553676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09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82016" y="3090446"/>
            <a:ext cx="11082528" cy="677108"/>
          </a:xfrm>
        </p:spPr>
        <p:txBody>
          <a:bodyPr anchor="ctr">
            <a:spAutoFit/>
          </a:bodyPr>
          <a:lstStyle>
            <a:lvl1pPr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38201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39E93985-D946-4737-B28D-A5890C8F26B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82016" y="625491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4BAA0573-39CC-4CD5-A5CE-A53466DCA4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0676" y="6377502"/>
            <a:ext cx="5723164" cy="27699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200" baseline="0">
                <a:solidFill>
                  <a:srgbClr val="34BCEE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4BCE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VID-19 Vaccine Deployment Programme</a:t>
            </a:r>
          </a:p>
        </p:txBody>
      </p:sp>
      <p:pic>
        <p:nvPicPr>
          <p:cNvPr id="12" name="Picture 384" descr="Department for Business, Energy and Industrial Strategy - Wikipedia">
            <a:extLst>
              <a:ext uri="{FF2B5EF4-FFF2-40B4-BE49-F238E27FC236}">
                <a16:creationId xmlns:a16="http://schemas.microsoft.com/office/drawing/2014/main" id="{F4D6E16D-7A7A-4127-8E65-2DAEA1CB85E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8750" y="388955"/>
            <a:ext cx="678595" cy="363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86" descr="Department of Health and Social Care - Wikipedia">
            <a:extLst>
              <a:ext uri="{FF2B5EF4-FFF2-40B4-BE49-F238E27FC236}">
                <a16:creationId xmlns:a16="http://schemas.microsoft.com/office/drawing/2014/main" id="{CA831CBB-E760-47A9-9EB5-9224F78C16B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9901" y="390677"/>
            <a:ext cx="453802" cy="357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88" descr="Public Health England - Wikipedia">
            <a:extLst>
              <a:ext uri="{FF2B5EF4-FFF2-40B4-BE49-F238E27FC236}">
                <a16:creationId xmlns:a16="http://schemas.microsoft.com/office/drawing/2014/main" id="{586D835D-FE6F-4090-B6E5-D75A91C3111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46694" y="402363"/>
            <a:ext cx="559696" cy="346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59696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85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3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38201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A85B5A04-85AE-4E05-8CF9-32D94144097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382016" y="625491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D1BE50EE-992D-469F-8AAD-0F3C8F2CCD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0676" y="6377502"/>
            <a:ext cx="5723164" cy="27699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200" baseline="0">
                <a:solidFill>
                  <a:srgbClr val="34BCEE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4BCE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VID-19 Vaccine Deployment Programme</a:t>
            </a:r>
          </a:p>
        </p:txBody>
      </p:sp>
    </p:spTree>
    <p:extLst>
      <p:ext uri="{BB962C8B-B14F-4D97-AF65-F5344CB8AC3E}">
        <p14:creationId xmlns:p14="http://schemas.microsoft.com/office/powerpoint/2010/main" val="16123191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61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1F0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38201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38201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82016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71C35D46-1817-41BE-A109-13E81F08BC1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82016" y="625491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DF2A3196-BDF2-476C-B487-B987BA4A911B}"/>
              </a:ext>
            </a:extLst>
          </p:cNvPr>
          <p:cNvSpPr txBox="1">
            <a:spLocks/>
          </p:cNvSpPr>
          <p:nvPr userDrawn="1"/>
        </p:nvSpPr>
        <p:spPr>
          <a:xfrm>
            <a:off x="9126415" y="6356350"/>
            <a:ext cx="27182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ICIAL SENSITIVE: COMMERCIA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0B13450-3520-4E9D-B0CC-AAF892C8C00E}"/>
              </a:ext>
            </a:extLst>
          </p:cNvPr>
          <p:cNvSpPr txBox="1"/>
          <p:nvPr userDrawn="1"/>
        </p:nvSpPr>
        <p:spPr>
          <a:xfrm>
            <a:off x="308566" y="6372536"/>
            <a:ext cx="3821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F92BC6-D7C3-584B-87F2-0B845776A5A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1B6E6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1B6E6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41B6E6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Footer Placeholder 1">
            <a:extLst>
              <a:ext uri="{FF2B5EF4-FFF2-40B4-BE49-F238E27FC236}">
                <a16:creationId xmlns:a16="http://schemas.microsoft.com/office/drawing/2014/main" id="{C472FD18-7D0E-462E-B162-D9FBE47BDD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0676" y="6377502"/>
            <a:ext cx="5723164" cy="27699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200" baseline="0">
                <a:solidFill>
                  <a:srgbClr val="34BCEE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4BCE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VID-19 Vaccine Deployment Programm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D14F301-88CC-4507-A1C0-8B94419BEB5B}"/>
              </a:ext>
            </a:extLst>
          </p:cNvPr>
          <p:cNvSpPr txBox="1"/>
          <p:nvPr userDrawn="1"/>
        </p:nvSpPr>
        <p:spPr>
          <a:xfrm>
            <a:off x="586597" y="6361834"/>
            <a:ext cx="2952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|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41B6E6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28" name="Picture 391">
            <a:extLst>
              <a:ext uri="{FF2B5EF4-FFF2-40B4-BE49-F238E27FC236}">
                <a16:creationId xmlns:a16="http://schemas.microsoft.com/office/drawing/2014/main" id="{919D8850-8D79-40DA-881B-17FC3EDF4C1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6979" y="365910"/>
            <a:ext cx="897713" cy="363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92804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37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1F0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38201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382016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82016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3E31847F-C143-4878-889B-7FFC8A57ABC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82016" y="625491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7A4C6144-C44D-4909-B31D-D62DE4F26AE5}"/>
              </a:ext>
            </a:extLst>
          </p:cNvPr>
          <p:cNvSpPr txBox="1">
            <a:spLocks/>
          </p:cNvSpPr>
          <p:nvPr userDrawn="1"/>
        </p:nvSpPr>
        <p:spPr>
          <a:xfrm>
            <a:off x="9126415" y="6356350"/>
            <a:ext cx="27182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ICIAL SENSITIVE: COMMERC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30E562A-4B6E-4091-A66A-CACDFA548B47}"/>
              </a:ext>
            </a:extLst>
          </p:cNvPr>
          <p:cNvSpPr txBox="1"/>
          <p:nvPr userDrawn="1"/>
        </p:nvSpPr>
        <p:spPr>
          <a:xfrm>
            <a:off x="308566" y="6372536"/>
            <a:ext cx="3821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F92BC6-D7C3-584B-87F2-0B845776A5A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1B6E6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1B6E6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41B6E6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C6FF793F-D4B4-4FF8-834B-21B670E610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0676" y="6377502"/>
            <a:ext cx="5723164" cy="27699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200" baseline="0">
                <a:solidFill>
                  <a:srgbClr val="34BCEE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4BCE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VID-19 Vaccine Deployment Programm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F5100B7-2598-4EAF-B599-BCEA8B824C3C}"/>
              </a:ext>
            </a:extLst>
          </p:cNvPr>
          <p:cNvSpPr txBox="1"/>
          <p:nvPr userDrawn="1"/>
        </p:nvSpPr>
        <p:spPr>
          <a:xfrm>
            <a:off x="586597" y="6361834"/>
            <a:ext cx="2952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|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41B6E6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28" name="Picture 391">
            <a:extLst>
              <a:ext uri="{FF2B5EF4-FFF2-40B4-BE49-F238E27FC236}">
                <a16:creationId xmlns:a16="http://schemas.microsoft.com/office/drawing/2014/main" id="{C289945E-4574-41EE-A523-AA3AFB18B9C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6979" y="365910"/>
            <a:ext cx="897713" cy="363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48079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1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1F0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382016" y="332985"/>
            <a:ext cx="5065776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382016" y="713275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8201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BFC408C4-17D8-45C2-A470-07F38EEF342D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82016" y="625491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21E48E0-1F2F-4AC2-94B6-D352AA109995}"/>
              </a:ext>
            </a:extLst>
          </p:cNvPr>
          <p:cNvSpPr txBox="1">
            <a:spLocks/>
          </p:cNvSpPr>
          <p:nvPr userDrawn="1"/>
        </p:nvSpPr>
        <p:spPr>
          <a:xfrm>
            <a:off x="9126415" y="6356350"/>
            <a:ext cx="27182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ICIAL SENSITIVE: COMMERC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358ECE2-FECE-45FB-B8E6-0267A75BD483}"/>
              </a:ext>
            </a:extLst>
          </p:cNvPr>
          <p:cNvSpPr txBox="1"/>
          <p:nvPr userDrawn="1"/>
        </p:nvSpPr>
        <p:spPr>
          <a:xfrm>
            <a:off x="308566" y="6372536"/>
            <a:ext cx="3821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F92BC6-D7C3-584B-87F2-0B845776A5A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1B6E6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1B6E6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41B6E6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2EA2C966-55AF-4513-835B-BF738DBB18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0676" y="6377502"/>
            <a:ext cx="5723164" cy="27699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200" baseline="0">
                <a:solidFill>
                  <a:srgbClr val="34BCEE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4BCE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VID-19 Vaccine Deployment Programm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BA9D69B-4348-4A97-8ACF-EE445900546A}"/>
              </a:ext>
            </a:extLst>
          </p:cNvPr>
          <p:cNvSpPr txBox="1"/>
          <p:nvPr userDrawn="1"/>
        </p:nvSpPr>
        <p:spPr>
          <a:xfrm>
            <a:off x="586597" y="6361834"/>
            <a:ext cx="2952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|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41B6E6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28" name="Picture 391">
            <a:extLst>
              <a:ext uri="{FF2B5EF4-FFF2-40B4-BE49-F238E27FC236}">
                <a16:creationId xmlns:a16="http://schemas.microsoft.com/office/drawing/2014/main" id="{CB9001E7-BCC5-4448-8169-58050F0EC0A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6979" y="365910"/>
            <a:ext cx="897713" cy="363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19017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89"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82016" y="332985"/>
            <a:ext cx="6967728" cy="369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1F0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382016" y="713275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8201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B16E36B8-89A2-44C2-938F-35B6D88993F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82016" y="625491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02BC9713-8E8B-4FF2-8DE2-59D94B742CBD}"/>
              </a:ext>
            </a:extLst>
          </p:cNvPr>
          <p:cNvSpPr txBox="1">
            <a:spLocks/>
          </p:cNvSpPr>
          <p:nvPr userDrawn="1"/>
        </p:nvSpPr>
        <p:spPr>
          <a:xfrm>
            <a:off x="9126415" y="6356350"/>
            <a:ext cx="27182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ICIAL SENSITIVE: COMMERC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8986E3C-D4BC-4018-98EE-71B51F993875}"/>
              </a:ext>
            </a:extLst>
          </p:cNvPr>
          <p:cNvSpPr txBox="1"/>
          <p:nvPr userDrawn="1"/>
        </p:nvSpPr>
        <p:spPr>
          <a:xfrm>
            <a:off x="308566" y="6372536"/>
            <a:ext cx="3821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F92BC6-D7C3-584B-87F2-0B845776A5A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1B6E6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1B6E6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41B6E6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ECE49E20-CF8B-430F-AF57-00B8CA18E6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0676" y="6377502"/>
            <a:ext cx="5723164" cy="27699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200" baseline="0">
                <a:solidFill>
                  <a:srgbClr val="34BCEE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4BCE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VID-19 Vaccine Deployment Programm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291978C-4863-4F14-8C2F-55973FE63BC6}"/>
              </a:ext>
            </a:extLst>
          </p:cNvPr>
          <p:cNvSpPr txBox="1"/>
          <p:nvPr userDrawn="1"/>
        </p:nvSpPr>
        <p:spPr>
          <a:xfrm>
            <a:off x="586597" y="6361834"/>
            <a:ext cx="2952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|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41B6E6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33" name="Picture 391">
            <a:extLst>
              <a:ext uri="{FF2B5EF4-FFF2-40B4-BE49-F238E27FC236}">
                <a16:creationId xmlns:a16="http://schemas.microsoft.com/office/drawing/2014/main" id="{19D85AD4-3B1F-4594-A456-3A1200C7DD6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6979" y="365910"/>
            <a:ext cx="897713" cy="363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37088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65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1F0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382016" y="332985"/>
            <a:ext cx="7918704" cy="369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382016" y="713275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8201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5B734C35-19E8-4B12-AC94-2B1655CED6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82016" y="625491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63996CBF-A167-40A3-AAD4-398D2D8FAE78}"/>
              </a:ext>
            </a:extLst>
          </p:cNvPr>
          <p:cNvSpPr txBox="1">
            <a:spLocks/>
          </p:cNvSpPr>
          <p:nvPr userDrawn="1"/>
        </p:nvSpPr>
        <p:spPr>
          <a:xfrm>
            <a:off x="9126415" y="6356350"/>
            <a:ext cx="27182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ICIAL SENSITIVE: COMMERCI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010A92-14A3-4A1A-B340-3195522A0E36}"/>
              </a:ext>
            </a:extLst>
          </p:cNvPr>
          <p:cNvSpPr txBox="1"/>
          <p:nvPr userDrawn="1"/>
        </p:nvSpPr>
        <p:spPr>
          <a:xfrm>
            <a:off x="308566" y="6372536"/>
            <a:ext cx="3821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F92BC6-D7C3-584B-87F2-0B845776A5A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1B6E6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1B6E6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41B6E6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705AD5B1-F2C1-4BEE-9B46-5E4474B9A4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0676" y="6377502"/>
            <a:ext cx="5723164" cy="27699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200" baseline="0">
                <a:solidFill>
                  <a:srgbClr val="34BCEE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4BCE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VID-19 Vaccine Deployment Programm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09710D9-10EB-42C9-9E32-F1015B30CFD1}"/>
              </a:ext>
            </a:extLst>
          </p:cNvPr>
          <p:cNvSpPr txBox="1"/>
          <p:nvPr userDrawn="1"/>
        </p:nvSpPr>
        <p:spPr>
          <a:xfrm>
            <a:off x="586597" y="6361834"/>
            <a:ext cx="2952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|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41B6E6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29" name="Picture 391">
            <a:extLst>
              <a:ext uri="{FF2B5EF4-FFF2-40B4-BE49-F238E27FC236}">
                <a16:creationId xmlns:a16="http://schemas.microsoft.com/office/drawing/2014/main" id="{F43C6111-6695-46A1-9552-BAC74903356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6979" y="365910"/>
            <a:ext cx="897713" cy="363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22553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1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82016" y="332985"/>
            <a:ext cx="8457184" cy="369332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38201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E518A091-F30D-455A-84D1-094DC2AF9E4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82016" y="625491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88BCF0FC-EF2A-4462-8A67-A3CFACD8AA65}"/>
              </a:ext>
            </a:extLst>
          </p:cNvPr>
          <p:cNvSpPr txBox="1">
            <a:spLocks/>
          </p:cNvSpPr>
          <p:nvPr userDrawn="1"/>
        </p:nvSpPr>
        <p:spPr>
          <a:xfrm>
            <a:off x="9126415" y="6356350"/>
            <a:ext cx="27182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ICIAL SENSITIVE: COMMERCIA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9E3F805-AF0B-41A3-BA93-4BF27ADD7504}"/>
              </a:ext>
            </a:extLst>
          </p:cNvPr>
          <p:cNvSpPr txBox="1"/>
          <p:nvPr userDrawn="1"/>
        </p:nvSpPr>
        <p:spPr>
          <a:xfrm>
            <a:off x="308566" y="6372536"/>
            <a:ext cx="3821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F92BC6-D7C3-584B-87F2-0B845776A5A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1B6E6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1B6E6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41B6E6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6B91315E-6A3F-4A0D-B6B8-57A64175D2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0676" y="6377502"/>
            <a:ext cx="5723164" cy="27699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200" baseline="0">
                <a:solidFill>
                  <a:srgbClr val="34BCEE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4BCE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VID-19 Vaccine Deployment Programm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B89BDDC-6B69-4108-A410-0231254DE76D}"/>
              </a:ext>
            </a:extLst>
          </p:cNvPr>
          <p:cNvSpPr txBox="1"/>
          <p:nvPr userDrawn="1"/>
        </p:nvSpPr>
        <p:spPr>
          <a:xfrm>
            <a:off x="586597" y="6361834"/>
            <a:ext cx="2952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|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41B6E6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24" name="Picture 391">
            <a:extLst>
              <a:ext uri="{FF2B5EF4-FFF2-40B4-BE49-F238E27FC236}">
                <a16:creationId xmlns:a16="http://schemas.microsoft.com/office/drawing/2014/main" id="{A13A03AC-6CA4-4AB2-A91A-514E0D3FCE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6979" y="365910"/>
            <a:ext cx="897713" cy="363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2853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17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38201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9577687A-ECA1-4C50-A2D9-45F0E162AC0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382016" y="625491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CA79EA2B-9616-4803-8BBE-2305B2ACE980}"/>
              </a:ext>
            </a:extLst>
          </p:cNvPr>
          <p:cNvSpPr txBox="1">
            <a:spLocks/>
          </p:cNvSpPr>
          <p:nvPr userDrawn="1"/>
        </p:nvSpPr>
        <p:spPr>
          <a:xfrm>
            <a:off x="9126415" y="6356350"/>
            <a:ext cx="27182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ICIAL SENSITIVE: COMMERCIA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9386A8F-928B-4045-A8FB-D96A497D46E6}"/>
              </a:ext>
            </a:extLst>
          </p:cNvPr>
          <p:cNvSpPr txBox="1"/>
          <p:nvPr userDrawn="1"/>
        </p:nvSpPr>
        <p:spPr>
          <a:xfrm>
            <a:off x="308566" y="6372536"/>
            <a:ext cx="3821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F92BC6-D7C3-584B-87F2-0B845776A5A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41B6E6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1B6E6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41B6E6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08C00EAF-69FE-4981-B46E-428E281674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0676" y="6377502"/>
            <a:ext cx="5723164" cy="276999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1200" baseline="0">
                <a:solidFill>
                  <a:srgbClr val="34BCEE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4BCE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VID-19 Vaccine Deployment Programm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51F5D3C-E636-4705-ADA2-B6629200CF11}"/>
              </a:ext>
            </a:extLst>
          </p:cNvPr>
          <p:cNvSpPr txBox="1"/>
          <p:nvPr userDrawn="1"/>
        </p:nvSpPr>
        <p:spPr>
          <a:xfrm>
            <a:off x="586597" y="6361834"/>
            <a:ext cx="2952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|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41B6E6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22" name="Picture 391">
            <a:extLst>
              <a:ext uri="{FF2B5EF4-FFF2-40B4-BE49-F238E27FC236}">
                <a16:creationId xmlns:a16="http://schemas.microsoft.com/office/drawing/2014/main" id="{90AF5760-BD43-4729-B32D-BD08FC71FD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6979" y="365910"/>
            <a:ext cx="897713" cy="363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058617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9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D42D410C-305A-40BD-8173-C01B08461972}"/>
              </a:ext>
            </a:extLst>
          </p:cNvPr>
          <p:cNvGrpSpPr>
            <a:grpSpLocks/>
          </p:cNvGrpSpPr>
          <p:nvPr userDrawn="1"/>
        </p:nvGrpSpPr>
        <p:grpSpPr>
          <a:xfrm>
            <a:off x="2924846" y="2990850"/>
            <a:ext cx="6342308" cy="876300"/>
            <a:chOff x="2269486" y="1476547"/>
            <a:chExt cx="7674614" cy="1060381"/>
          </a:xfrm>
        </p:grpSpPr>
        <p:pic>
          <p:nvPicPr>
            <p:cNvPr id="30" name="Picture 384" descr="Department for Business, Energy and Industrial Strategy - Wikipedia">
              <a:extLst>
                <a:ext uri="{FF2B5EF4-FFF2-40B4-BE49-F238E27FC236}">
                  <a16:creationId xmlns:a16="http://schemas.microsoft.com/office/drawing/2014/main" id="{B2C9B600-2163-4FC1-89FF-1D9FE1F2CD43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69486" y="1539804"/>
              <a:ext cx="1862683" cy="9971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386" descr="Department of Health and Social Care - Wikipedia">
              <a:extLst>
                <a:ext uri="{FF2B5EF4-FFF2-40B4-BE49-F238E27FC236}">
                  <a16:creationId xmlns:a16="http://schemas.microsoft.com/office/drawing/2014/main" id="{4C8A42F1-70F9-459A-9F92-E794E78C22A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6024" y="1544530"/>
              <a:ext cx="1245646" cy="9819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388" descr="Public Health England - Wikipedia">
              <a:extLst>
                <a:ext uri="{FF2B5EF4-FFF2-40B4-BE49-F238E27FC236}">
                  <a16:creationId xmlns:a16="http://schemas.microsoft.com/office/drawing/2014/main" id="{230135A0-36CC-424A-A497-4C4D806F3EE4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32228" y="1576607"/>
              <a:ext cx="1536316" cy="9512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391">
              <a:extLst>
                <a:ext uri="{FF2B5EF4-FFF2-40B4-BE49-F238E27FC236}">
                  <a16:creationId xmlns:a16="http://schemas.microsoft.com/office/drawing/2014/main" id="{63CC37DF-BBA5-4F3D-8535-F36575725093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79957" y="1476547"/>
              <a:ext cx="2464143" cy="9972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947220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heading (NW London IC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6F84FA-B8EB-462F-97BA-032CB76B4E3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1196752"/>
            <a:ext cx="12192000" cy="3600401"/>
          </a:xfrm>
          <a:prstGeom prst="rect">
            <a:avLst/>
          </a:prstGeom>
          <a:solidFill>
            <a:srgbClr val="4B429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7368" y="1523327"/>
            <a:ext cx="11377264" cy="132960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ub-heading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>
          <a:xfrm flipV="1">
            <a:off x="13836" y="6081932"/>
            <a:ext cx="2952328" cy="4173"/>
          </a:xfrm>
          <a:prstGeom prst="line">
            <a:avLst/>
          </a:prstGeom>
          <a:ln w="76200">
            <a:solidFill>
              <a:srgbClr val="F9A50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V="1">
            <a:off x="3110180" y="6079845"/>
            <a:ext cx="2952328" cy="4173"/>
          </a:xfrm>
          <a:prstGeom prst="line">
            <a:avLst/>
          </a:prstGeom>
          <a:ln w="76200">
            <a:solidFill>
              <a:srgbClr val="F246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V="1">
            <a:off x="6206524" y="6079845"/>
            <a:ext cx="2952328" cy="4173"/>
          </a:xfrm>
          <a:prstGeom prst="line">
            <a:avLst/>
          </a:prstGeom>
          <a:ln w="76200">
            <a:solidFill>
              <a:srgbClr val="853E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V="1">
            <a:off x="9274313" y="6077758"/>
            <a:ext cx="2952328" cy="4173"/>
          </a:xfrm>
          <a:prstGeom prst="line">
            <a:avLst/>
          </a:prstGeom>
          <a:ln w="76200">
            <a:solidFill>
              <a:srgbClr val="2A9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3078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9FCB08CE-B749-4A34-8E38-256DAB23FDA3}"/>
              </a:ext>
            </a:extLst>
          </p:cNvPr>
          <p:cNvSpPr txBox="1"/>
          <p:nvPr userDrawn="1"/>
        </p:nvSpPr>
        <p:spPr>
          <a:xfrm>
            <a:off x="291313" y="6484106"/>
            <a:ext cx="647362" cy="242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F92BC6-D7C3-584B-87F2-0B845776A5AD}" type="slidenum">
              <a:rPr kumimoji="0" lang="en-US" sz="974" b="0" i="0" u="none" strike="noStrike" kern="1200" cap="none" spc="0" normalizeH="0" baseline="0" noProof="0" smtClean="0">
                <a:ln>
                  <a:noFill/>
                </a:ln>
                <a:solidFill>
                  <a:srgbClr val="41B6E6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974" b="0" i="0" u="none" strike="noStrike" kern="1200" cap="none" spc="0" normalizeH="0" baseline="0" noProof="0" dirty="0">
                <a:ln>
                  <a:noFill/>
                </a:ln>
                <a:solidFill>
                  <a:srgbClr val="41B6E6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974" b="0" i="0" u="none" strike="noStrike" kern="1200" cap="none" spc="0" normalizeH="0" baseline="0" noProof="0" dirty="0">
                <a:ln>
                  <a:noFill/>
                </a:ln>
                <a:solidFill>
                  <a:srgbClr val="41B6E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</a:t>
            </a:r>
            <a:r>
              <a:rPr kumimoji="0" lang="en-US" sz="974" b="0" i="0" u="none" strike="noStrike" kern="1200" cap="none" spc="0" normalizeH="0" baseline="0" noProof="0" dirty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|</a:t>
            </a:r>
            <a:endParaRPr kumimoji="0" lang="en-US" sz="974" b="0" i="0" u="none" strike="noStrike" kern="1200" cap="none" spc="0" normalizeH="0" baseline="0" noProof="0" dirty="0">
              <a:ln>
                <a:noFill/>
              </a:ln>
              <a:solidFill>
                <a:srgbClr val="41B6E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itle 10">
            <a:extLst>
              <a:ext uri="{FF2B5EF4-FFF2-40B4-BE49-F238E27FC236}">
                <a16:creationId xmlns:a16="http://schemas.microsoft.com/office/drawing/2014/main" id="{22B34758-9E88-47CF-97D6-6500D97D9E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877" y="1037988"/>
            <a:ext cx="10641499" cy="611649"/>
          </a:xfrm>
          <a:prstGeom prst="rect">
            <a:avLst/>
          </a:prstGeom>
        </p:spPr>
        <p:txBody>
          <a:bodyPr/>
          <a:lstStyle>
            <a:lvl1pPr>
              <a:defRPr sz="2926" b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sz="2275">
              <a:solidFill>
                <a:srgbClr val="005EB8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Content Placeholder 9">
            <a:extLst>
              <a:ext uri="{FF2B5EF4-FFF2-40B4-BE49-F238E27FC236}">
                <a16:creationId xmlns:a16="http://schemas.microsoft.com/office/drawing/2014/main" id="{34C2919C-3AD4-436F-A0CC-4F48C43AA52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81879" y="1833143"/>
            <a:ext cx="10641499" cy="2244128"/>
          </a:xfrm>
          <a:prstGeom prst="rect">
            <a:avLst/>
          </a:prstGeom>
        </p:spPr>
        <p:txBody>
          <a:bodyPr/>
          <a:lstStyle>
            <a:lvl1pPr>
              <a:defRPr sz="1138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138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138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38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138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14" name="Picture 13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284323AA-9573-44A2-B321-13F3CEFFCC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35754" y="365919"/>
            <a:ext cx="1308943" cy="52861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0960B83-8E08-4B1D-A22C-661A6FA24DF7}"/>
              </a:ext>
            </a:extLst>
          </p:cNvPr>
          <p:cNvSpPr txBox="1"/>
          <p:nvPr userDrawn="1"/>
        </p:nvSpPr>
        <p:spPr>
          <a:xfrm>
            <a:off x="10233619" y="6484110"/>
            <a:ext cx="1913206" cy="254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1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FFICIAL SENSITIVE</a:t>
            </a:r>
          </a:p>
        </p:txBody>
      </p:sp>
    </p:spTree>
    <p:extLst>
      <p:ext uri="{BB962C8B-B14F-4D97-AF65-F5344CB8AC3E}">
        <p14:creationId xmlns:p14="http://schemas.microsoft.com/office/powerpoint/2010/main" val="113141060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4737C5-8A25-4C3C-8425-941FEEEDF0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55DD0F-368F-485B-A6E6-8828A2A462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A9C702F-42CE-4082-B7FD-4723AD057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7DD16D-E03C-4B35-B597-AE9A0A1A21A4}" type="datetimeFigureOut">
              <a:rPr kumimoji="0" lang="en-GB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02/2022</a:t>
            </a:fld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383A51-A766-4D83-8284-4A85B18867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3E64F5-933D-4E5E-BE6F-E763E3AAED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33612C-97B5-4EE2-9641-00DE2EEE5A8A}" type="slidenum">
              <a:rPr kumimoji="0" lang="en-GB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577612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(NW London IC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080120"/>
            <a:ext cx="12192000" cy="5805264"/>
          </a:xfrm>
          <a:prstGeom prst="rect">
            <a:avLst/>
          </a:prstGeom>
          <a:solidFill>
            <a:srgbClr val="4B429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2202483"/>
            <a:ext cx="9144000" cy="2387600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682158"/>
            <a:ext cx="9144000" cy="90708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cxnSp>
        <p:nvCxnSpPr>
          <p:cNvPr id="26" name="Straight Connector 25"/>
          <p:cNvCxnSpPr/>
          <p:nvPr userDrawn="1"/>
        </p:nvCxnSpPr>
        <p:spPr>
          <a:xfrm flipV="1">
            <a:off x="3875" y="988048"/>
            <a:ext cx="2952328" cy="4173"/>
          </a:xfrm>
          <a:prstGeom prst="line">
            <a:avLst/>
          </a:prstGeom>
          <a:ln w="76200">
            <a:solidFill>
              <a:srgbClr val="F9A50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 flipV="1">
            <a:off x="3100219" y="985962"/>
            <a:ext cx="2952328" cy="4173"/>
          </a:xfrm>
          <a:prstGeom prst="line">
            <a:avLst/>
          </a:prstGeom>
          <a:ln w="76200">
            <a:solidFill>
              <a:srgbClr val="F246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 userDrawn="1"/>
        </p:nvCxnSpPr>
        <p:spPr>
          <a:xfrm flipV="1">
            <a:off x="6196561" y="985962"/>
            <a:ext cx="2952328" cy="4173"/>
          </a:xfrm>
          <a:prstGeom prst="line">
            <a:avLst/>
          </a:prstGeom>
          <a:ln w="76200">
            <a:solidFill>
              <a:srgbClr val="853E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 userDrawn="1"/>
        </p:nvCxnSpPr>
        <p:spPr>
          <a:xfrm flipV="1">
            <a:off x="9264352" y="983876"/>
            <a:ext cx="2952328" cy="4173"/>
          </a:xfrm>
          <a:prstGeom prst="line">
            <a:avLst/>
          </a:prstGeom>
          <a:ln w="76200">
            <a:solidFill>
              <a:srgbClr val="2A9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2" descr="C:\Users\abrjes\AppData\Local\Microsoft\Windows\INetCache\Content.Outlook\JXQ15T3X\NWL-ICS-logo-high-res.jpg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0418" y="87479"/>
            <a:ext cx="2233639" cy="74454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337826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 (NW London IC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989" y="1397238"/>
            <a:ext cx="11386643" cy="44800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6F84FA-B8EB-462F-97BA-032CB76B4E3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1196752"/>
          </a:xfrm>
          <a:prstGeom prst="rect">
            <a:avLst/>
          </a:prstGeom>
          <a:solidFill>
            <a:srgbClr val="4B429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7368" y="326582"/>
            <a:ext cx="11377264" cy="54359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V="1">
            <a:off x="13836" y="6081932"/>
            <a:ext cx="2952328" cy="4173"/>
          </a:xfrm>
          <a:prstGeom prst="line">
            <a:avLst/>
          </a:prstGeom>
          <a:ln w="76200">
            <a:solidFill>
              <a:srgbClr val="F9A50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 flipV="1">
            <a:off x="3110180" y="6079845"/>
            <a:ext cx="2952328" cy="4173"/>
          </a:xfrm>
          <a:prstGeom prst="line">
            <a:avLst/>
          </a:prstGeom>
          <a:ln w="76200">
            <a:solidFill>
              <a:srgbClr val="F246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 flipV="1">
            <a:off x="6206524" y="6079845"/>
            <a:ext cx="2952328" cy="4173"/>
          </a:xfrm>
          <a:prstGeom prst="line">
            <a:avLst/>
          </a:prstGeom>
          <a:ln w="76200">
            <a:solidFill>
              <a:srgbClr val="853E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 flipV="1">
            <a:off x="9274313" y="6077758"/>
            <a:ext cx="2952328" cy="4173"/>
          </a:xfrm>
          <a:prstGeom prst="line">
            <a:avLst/>
          </a:prstGeom>
          <a:ln w="76200">
            <a:solidFill>
              <a:srgbClr val="2A9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427523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Standard slide (NW London IC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7989" y="1397238"/>
            <a:ext cx="11386643" cy="448003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6F84FA-B8EB-462F-97BA-032CB76B4E3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1196752"/>
          </a:xfrm>
          <a:prstGeom prst="rect">
            <a:avLst/>
          </a:prstGeom>
          <a:solidFill>
            <a:srgbClr val="4B429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7368" y="326582"/>
            <a:ext cx="11377264" cy="54359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V="1">
            <a:off x="13836" y="6081932"/>
            <a:ext cx="2952328" cy="4173"/>
          </a:xfrm>
          <a:prstGeom prst="line">
            <a:avLst/>
          </a:prstGeom>
          <a:ln w="76200">
            <a:solidFill>
              <a:srgbClr val="F9A50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 flipV="1">
            <a:off x="3110180" y="6079845"/>
            <a:ext cx="2952328" cy="4173"/>
          </a:xfrm>
          <a:prstGeom prst="line">
            <a:avLst/>
          </a:prstGeom>
          <a:ln w="76200">
            <a:solidFill>
              <a:srgbClr val="F246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 flipV="1">
            <a:off x="6206524" y="6079845"/>
            <a:ext cx="2952328" cy="4173"/>
          </a:xfrm>
          <a:prstGeom prst="line">
            <a:avLst/>
          </a:prstGeom>
          <a:ln w="76200">
            <a:solidFill>
              <a:srgbClr val="853E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 flipV="1">
            <a:off x="9274313" y="6077758"/>
            <a:ext cx="2952328" cy="4173"/>
          </a:xfrm>
          <a:prstGeom prst="line">
            <a:avLst/>
          </a:prstGeom>
          <a:ln w="76200">
            <a:solidFill>
              <a:srgbClr val="2A9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5460BCA9-5405-4073-80D1-5FAEB2EBBE03}"/>
              </a:ext>
            </a:extLst>
          </p:cNvPr>
          <p:cNvSpPr/>
          <p:nvPr userDrawn="1"/>
        </p:nvSpPr>
        <p:spPr>
          <a:xfrm>
            <a:off x="10005265" y="-2"/>
            <a:ext cx="2186735" cy="202595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RAFT – for discussion. </a:t>
            </a:r>
          </a:p>
        </p:txBody>
      </p:sp>
    </p:spTree>
    <p:extLst>
      <p:ext uri="{BB962C8B-B14F-4D97-AF65-F5344CB8AC3E}">
        <p14:creationId xmlns:p14="http://schemas.microsoft.com/office/powerpoint/2010/main" val="115519423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heading (NW London IC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6F84FA-B8EB-462F-97BA-032CB76B4E3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1196752"/>
            <a:ext cx="12192000" cy="3600401"/>
          </a:xfrm>
          <a:prstGeom prst="rect">
            <a:avLst/>
          </a:prstGeom>
          <a:solidFill>
            <a:srgbClr val="4B429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7368" y="1523327"/>
            <a:ext cx="11377264" cy="132960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ub-heading</a:t>
            </a:r>
            <a:endParaRPr lang="en-GB"/>
          </a:p>
        </p:txBody>
      </p:sp>
      <p:cxnSp>
        <p:nvCxnSpPr>
          <p:cNvPr id="12" name="Straight Connector 11"/>
          <p:cNvCxnSpPr/>
          <p:nvPr userDrawn="1"/>
        </p:nvCxnSpPr>
        <p:spPr>
          <a:xfrm flipV="1">
            <a:off x="13836" y="6081932"/>
            <a:ext cx="2952328" cy="4173"/>
          </a:xfrm>
          <a:prstGeom prst="line">
            <a:avLst/>
          </a:prstGeom>
          <a:ln w="76200">
            <a:solidFill>
              <a:srgbClr val="F9A50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V="1">
            <a:off x="3110180" y="6079845"/>
            <a:ext cx="2952328" cy="4173"/>
          </a:xfrm>
          <a:prstGeom prst="line">
            <a:avLst/>
          </a:prstGeom>
          <a:ln w="76200">
            <a:solidFill>
              <a:srgbClr val="F246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V="1">
            <a:off x="6206524" y="6079845"/>
            <a:ext cx="2952328" cy="4173"/>
          </a:xfrm>
          <a:prstGeom prst="line">
            <a:avLst/>
          </a:prstGeom>
          <a:ln w="76200">
            <a:solidFill>
              <a:srgbClr val="853E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V="1">
            <a:off x="9274313" y="6077758"/>
            <a:ext cx="2952328" cy="4173"/>
          </a:xfrm>
          <a:prstGeom prst="line">
            <a:avLst/>
          </a:prstGeom>
          <a:ln w="76200">
            <a:solidFill>
              <a:srgbClr val="2A9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435323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39349" y="1268761"/>
            <a:ext cx="5755051" cy="485740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3" y="1268761"/>
            <a:ext cx="5755051" cy="485740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39357" y="274638"/>
            <a:ext cx="11713301" cy="706090"/>
          </a:xfrm>
        </p:spPr>
        <p:txBody>
          <a:bodyPr/>
          <a:lstStyle>
            <a:lvl1pPr>
              <a:defRPr sz="3600" b="1">
                <a:solidFill>
                  <a:srgbClr val="00B8B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9358" y="6309403"/>
            <a:ext cx="10849205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80579" y="6309403"/>
            <a:ext cx="672075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52524D-C75E-4B8E-A4BC-3CCAE387C3D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Picture 2" descr="\\nwlondon.local\csu\Communications\14. Logos, images and photos\Logos\Health and care partnership\Health and care partnership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6280" y="6190016"/>
            <a:ext cx="4010625" cy="5623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63817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i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196752"/>
          </a:xfrm>
          <a:prstGeom prst="rect">
            <a:avLst/>
          </a:prstGeom>
          <a:solidFill>
            <a:srgbClr val="4B429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7368" y="326582"/>
            <a:ext cx="11377264" cy="54359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>
          <a:xfrm flipV="1">
            <a:off x="13836" y="6081932"/>
            <a:ext cx="2952328" cy="4173"/>
          </a:xfrm>
          <a:prstGeom prst="line">
            <a:avLst/>
          </a:prstGeom>
          <a:ln w="76200">
            <a:solidFill>
              <a:srgbClr val="F9A50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 flipV="1">
            <a:off x="3110180" y="6079845"/>
            <a:ext cx="2952328" cy="4173"/>
          </a:xfrm>
          <a:prstGeom prst="line">
            <a:avLst/>
          </a:prstGeom>
          <a:ln w="76200">
            <a:solidFill>
              <a:srgbClr val="F246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 flipV="1">
            <a:off x="6206524" y="6079845"/>
            <a:ext cx="2952328" cy="4173"/>
          </a:xfrm>
          <a:prstGeom prst="line">
            <a:avLst/>
          </a:prstGeom>
          <a:ln w="76200">
            <a:solidFill>
              <a:srgbClr val="853E9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 flipV="1">
            <a:off x="9274313" y="6077758"/>
            <a:ext cx="2952328" cy="4173"/>
          </a:xfrm>
          <a:prstGeom prst="line">
            <a:avLst/>
          </a:prstGeom>
          <a:ln w="76200">
            <a:solidFill>
              <a:srgbClr val="2A9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 userDrawn="1"/>
        </p:nvSpPr>
        <p:spPr>
          <a:xfrm>
            <a:off x="128975" y="5013176"/>
            <a:ext cx="5320528" cy="936104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788" y="3284984"/>
            <a:ext cx="5319137" cy="1565305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9336" y="1272676"/>
            <a:ext cx="5328592" cy="26161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ss site (opening times)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5584680" y="1268760"/>
            <a:ext cx="6488797" cy="26161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lanned engagement activity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27400" y="2208780"/>
            <a:ext cx="5320526" cy="26161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reas or communities of focus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19336" y="1272675"/>
            <a:ext cx="5328592" cy="798115"/>
          </a:xfrm>
          <a:prstGeom prst="rect">
            <a:avLst/>
          </a:prstGeom>
          <a:noFill/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127400" y="2204864"/>
            <a:ext cx="5320528" cy="936104"/>
          </a:xfrm>
          <a:prstGeom prst="rect">
            <a:avLst/>
          </a:prstGeom>
          <a:noFill/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5591944" y="1275131"/>
            <a:ext cx="6480716" cy="4674149"/>
          </a:xfrm>
          <a:prstGeom prst="rect">
            <a:avLst/>
          </a:prstGeom>
          <a:noFill/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170889" y="3311406"/>
            <a:ext cx="5277039" cy="26161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tacts</a:t>
            </a:r>
          </a:p>
        </p:txBody>
      </p:sp>
      <p:sp>
        <p:nvSpPr>
          <p:cNvPr id="24" name="TextBox 23"/>
          <p:cNvSpPr txBox="1"/>
          <p:nvPr userDrawn="1"/>
        </p:nvSpPr>
        <p:spPr>
          <a:xfrm>
            <a:off x="170889" y="5039598"/>
            <a:ext cx="5278612" cy="26161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isits</a:t>
            </a:r>
          </a:p>
        </p:txBody>
      </p:sp>
    </p:spTree>
    <p:extLst>
      <p:ext uri="{BB962C8B-B14F-4D97-AF65-F5344CB8AC3E}">
        <p14:creationId xmlns:p14="http://schemas.microsoft.com/office/powerpoint/2010/main" val="21310811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069C37-35D6-4190-B8CF-F5CA179AB8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28D37B4-BDB1-46B5-A949-C7654EAA39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10D813-EB9A-4F36-8B4A-AF07DF98E1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149A37A1-C27C-4CF0-91EF-D859E1B337A1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10/02/2022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154CE7-0C0E-4E04-B7B8-151111029B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40C173-0EE3-472A-8ECA-221A20C239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652C817E-C4EB-47EE-B1FD-53543A4A6CB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90119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8FA2C3-6EC9-46C0-AF77-43604D4497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CA9307-A286-4FAA-9907-3FF5D941C4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A77C04-6393-4CB4-BDB9-78C908A2F7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149A37A1-C27C-4CF0-91EF-D859E1B337A1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10/02/2022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AA2F41-1BFA-4AB2-8C4C-72701D8EC9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C9CD18-C202-4F20-BF70-DF0AFD6199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652C817E-C4EB-47EE-B1FD-53543A4A6CB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81915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AD1A4E-72DD-4B8F-918A-C301FE72C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B9ED2A-16F9-4166-81F7-76DFD265F6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A7FD203-2258-44CC-A197-CBD5C5E554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149A37A1-C27C-4CF0-91EF-D859E1B337A1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10/02/2022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2853DC-2703-479A-B05E-76A8B7C91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4D4AD4-D41D-4650-A796-299BCCC6C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652C817E-C4EB-47EE-B1FD-53543A4A6CB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95719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68C671-F16B-47B4-A539-0183842142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EB9924-5353-48CF-B397-497D72E1AF8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864690-00D5-45D0-8F13-11732E1FEA2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0DAF4E1-B9B0-4850-B698-0F3D0AA41C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149A37A1-C27C-4CF0-91EF-D859E1B337A1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10/02/2022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3B98FA-CA7F-494E-906D-7FD8E4B9CA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38747D-06BB-44C6-B1DB-780D622482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652C817E-C4EB-47EE-B1FD-53543A4A6CB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43571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9D1FC8-35CD-4855-8E53-D8829DE1B3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AECE68-B9FA-49EA-9316-A98DC08370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6C447FF-0B43-42FB-BFD9-2A31B3D526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26E8CE-57E9-41BB-96E1-47992A58F67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B7E59BE-80E3-4DD2-A923-057734F4B99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747A658-A2B3-4D83-9F8B-D6E33C01FB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149A37A1-C27C-4CF0-91EF-D859E1B337A1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10/02/2022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F8982FB-2E94-4B31-BA3C-935214C60B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C4EBE36-BCD2-47DD-9F3A-341C5B5019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652C817E-C4EB-47EE-B1FD-53543A4A6CB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59878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.xml"/><Relationship Id="rId18" Type="http://schemas.openxmlformats.org/officeDocument/2006/relationships/vmlDrawing" Target="../drawings/vmlDrawing1.vml"/><Relationship Id="rId26" Type="http://schemas.openxmlformats.org/officeDocument/2006/relationships/tags" Target="../tags/tag8.xml"/><Relationship Id="rId39" Type="http://schemas.openxmlformats.org/officeDocument/2006/relationships/oleObject" Target="../embeddings/oleObject1.bin"/><Relationship Id="rId21" Type="http://schemas.openxmlformats.org/officeDocument/2006/relationships/tags" Target="../tags/tag3.xml"/><Relationship Id="rId34" Type="http://schemas.openxmlformats.org/officeDocument/2006/relationships/tags" Target="../tags/tag16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theme" Target="../theme/theme3.xml"/><Relationship Id="rId25" Type="http://schemas.openxmlformats.org/officeDocument/2006/relationships/tags" Target="../tags/tag7.xml"/><Relationship Id="rId33" Type="http://schemas.openxmlformats.org/officeDocument/2006/relationships/tags" Target="../tags/tag15.xml"/><Relationship Id="rId38" Type="http://schemas.openxmlformats.org/officeDocument/2006/relationships/tags" Target="../tags/tag20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tags" Target="../tags/tag2.xml"/><Relationship Id="rId29" Type="http://schemas.openxmlformats.org/officeDocument/2006/relationships/tags" Target="../tags/tag11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tags" Target="../tags/tag6.xml"/><Relationship Id="rId32" Type="http://schemas.openxmlformats.org/officeDocument/2006/relationships/tags" Target="../tags/tag14.xml"/><Relationship Id="rId37" Type="http://schemas.openxmlformats.org/officeDocument/2006/relationships/tags" Target="../tags/tag19.xml"/><Relationship Id="rId40" Type="http://schemas.openxmlformats.org/officeDocument/2006/relationships/image" Target="../media/image5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tags" Target="../tags/tag5.xml"/><Relationship Id="rId28" Type="http://schemas.openxmlformats.org/officeDocument/2006/relationships/tags" Target="../tags/tag10.xml"/><Relationship Id="rId36" Type="http://schemas.openxmlformats.org/officeDocument/2006/relationships/tags" Target="../tags/tag18.xml"/><Relationship Id="rId10" Type="http://schemas.openxmlformats.org/officeDocument/2006/relationships/slideLayout" Target="../slideLayouts/slideLayout25.xml"/><Relationship Id="rId19" Type="http://schemas.openxmlformats.org/officeDocument/2006/relationships/tags" Target="../tags/tag1.xml"/><Relationship Id="rId31" Type="http://schemas.openxmlformats.org/officeDocument/2006/relationships/tags" Target="../tags/tag13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tags" Target="../tags/tag4.xml"/><Relationship Id="rId27" Type="http://schemas.openxmlformats.org/officeDocument/2006/relationships/tags" Target="../tags/tag9.xml"/><Relationship Id="rId30" Type="http://schemas.openxmlformats.org/officeDocument/2006/relationships/tags" Target="../tags/tag12.xml"/><Relationship Id="rId35" Type="http://schemas.openxmlformats.org/officeDocument/2006/relationships/tags" Target="../tags/tag17.xml"/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3" Type="http://schemas.openxmlformats.org/officeDocument/2006/relationships/slideLayout" Target="../slideLayouts/slideLayout34.xml"/><Relationship Id="rId7" Type="http://schemas.openxmlformats.org/officeDocument/2006/relationships/vmlDrawing" Target="../drawings/vmlDrawing16.v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theme" Target="../theme/theme4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36.xml"/><Relationship Id="rId10" Type="http://schemas.openxmlformats.org/officeDocument/2006/relationships/image" Target="../media/image17.emf"/><Relationship Id="rId4" Type="http://schemas.openxmlformats.org/officeDocument/2006/relationships/slideLayout" Target="../slideLayouts/slideLayout35.xml"/><Relationship Id="rId9" Type="http://schemas.openxmlformats.org/officeDocument/2006/relationships/oleObject" Target="../embeddings/oleObject1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24400" y="64862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6F84FA-B8EB-462F-97BA-032CB76B4E3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 descr="\\nwlondon.local\NWL\Communications\14. Logos, images and photos\Logos\NWLICS\NWL-ICS-logo-high-res.jpg"/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4433" y="6152907"/>
            <a:ext cx="2000251" cy="6667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8627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5" r:id="rId4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3E0754-CB59-4BB8-ACC4-D83CF7C384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B040E1-551A-42DE-BF9A-AFCED21A49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F1C903-50FE-48DA-BCAD-E6713C7F22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>
              <a:defRPr/>
            </a:pPr>
            <a:fld id="{149A37A1-C27C-4CF0-91EF-D859E1B337A1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10/02/2022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7F582E-8F11-47A4-8312-10ED873271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BBC374-9AC7-4475-89DC-969AEF7D6D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>
              <a:defRPr/>
            </a:pPr>
            <a:fld id="{652C817E-C4EB-47EE-B1FD-53543A4A6CB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38D6AC22-C9B4-4B58-BA56-B46B56E34FA2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505621" y="2"/>
            <a:ext cx="1686379" cy="681037"/>
          </a:xfrm>
          <a:prstGeom prst="rect">
            <a:avLst/>
          </a:prstGeom>
        </p:spPr>
      </p:pic>
      <p:pic>
        <p:nvPicPr>
          <p:cNvPr id="8" name="Content Placeholder 16">
            <a:extLst>
              <a:ext uri="{FF2B5EF4-FFF2-40B4-BE49-F238E27FC236}">
                <a16:creationId xmlns:a16="http://schemas.microsoft.com/office/drawing/2014/main" id="{7DE1A572-9F5E-4854-9267-19A5754F063A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6351559"/>
            <a:ext cx="12192000" cy="413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1249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29" name="think-cell Slide" r:id="rId39" imgW="413" imgH="416" progId="TCLayout.ActiveDocument.1">
                  <p:embed/>
                </p:oleObj>
              </mc:Choice>
              <mc:Fallback>
                <p:oleObj name="think-cell Slide" r:id="rId3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382016" y="1401262"/>
              <a:ext cx="11462676" cy="4661210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2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>
              <a:cxnSpLocks/>
            </p:cNvCxnSpPr>
            <p:nvPr userDrawn="1"/>
          </p:nvCxnSpPr>
          <p:spPr bwMode="invGray">
            <a:xfrm>
              <a:off x="382016" y="1863471"/>
              <a:ext cx="11462676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397128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382016" y="6084891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203200" marR="0" lvl="0" indent="-212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382016" y="332985"/>
            <a:ext cx="8436888" cy="3693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382016" y="994492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bove Chart Exhibit Tit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2016" y="2170800"/>
            <a:ext cx="3157811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A7CF08AC-6FAE-4FCF-9693-315C06E39091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5CA98577-B386-4569-AB0E-D4EA87253DA4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3A62A676-A25E-42D0-880A-9DBE700B239E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5CDD3142-1287-4C80-961C-8703533044F8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92575892-571E-431F-8CC7-A1D8EDA9A9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5ED663E6-8398-449A-BB4D-3B6C8F74B39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99C6A417-D5A4-441A-A448-D5FBCC69848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64BED792-B868-42E8-81AD-BD3F8DD3E5D2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6FE753B7-EDF1-4A8E-A6A3-2D1C5B266B00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D1F2AE42-EFF8-461A-B787-4D0E90BD019A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80E6160F-06C8-4D0C-BE08-CFDE23F3E932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07FF479A-51D0-4DA9-B0CE-52804ADAEF07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8D531B20-E718-4F2A-AA39-3515E685A35B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FF135417-EDA0-4289-9644-CCE2EB2DFB3D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03EF3250-BDDB-4AF4-850D-218EFC1680D2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3A6347B-30BB-4968-9B68-CFC7976D1798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A06D8259-AC81-4066-A6B8-1F88A01E8715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91D2DFAC-148D-4EB8-9F6C-1D14EA799DD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684F5EFC-1767-4190-AAD6-7A06D607558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573950CF-6634-4A6B-8BAA-493BBD487C07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FF1E7C09-2D78-4FEF-A2A2-087B680475E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371294D2-4B37-4538-B3F8-DAB937E401A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FB6E8A35-1C53-438C-A512-595E6BB8459F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2D7FE586-37C8-4EC9-87AC-779C4EDDFDA0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8ED97294-9BEA-4A39-B161-262206762FFE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E1486518-CEAB-4BAF-B232-2B4E1884F1CD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B0683042-B698-4DB4-9AC8-7B548541837F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30AE91C0-8146-4B05-B721-01832038C078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F19E7DF6-F517-47E3-B223-DD3794FD2E65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CC35EE87-B76A-40C5-A317-AEACF1D7640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56EEC1DB-7D8C-4329-BEC6-819B3FA98C5F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22E43479-20E8-41DC-9EC9-6214E5C8CE06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0EDBF957-EF88-4BCF-91B7-1B75448A9C00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D1EB84DF-CBD2-42A0-9E15-6A9973FAAD25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1016E086-75BB-4589-9972-99558D4944B9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7B4F2351-E975-4979-94A0-57C34433C52A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03C1E086-12E5-45F6-9960-80B47ED962C3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01108041-0045-49F4-98E8-DA7BDB75D0DA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2BFE0092-2848-47B1-988F-287F33A86B9C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sp>
        <p:nvSpPr>
          <p:cNvPr id="179" name="Footer Placeholder 4">
            <a:extLst>
              <a:ext uri="{FF2B5EF4-FFF2-40B4-BE49-F238E27FC236}">
                <a16:creationId xmlns:a16="http://schemas.microsoft.com/office/drawing/2014/main" id="{01BFA9A4-D7B2-432C-9FF1-8D8BA5A1E48D}"/>
              </a:ext>
            </a:extLst>
          </p:cNvPr>
          <p:cNvSpPr txBox="1">
            <a:spLocks/>
          </p:cNvSpPr>
          <p:nvPr userDrawn="1"/>
        </p:nvSpPr>
        <p:spPr>
          <a:xfrm>
            <a:off x="8712683" y="6531840"/>
            <a:ext cx="336291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ICIAL SENSITIVE: COMMERCIAL. DRAFT</a:t>
            </a:r>
          </a:p>
        </p:txBody>
      </p:sp>
    </p:spTree>
    <p:extLst>
      <p:ext uri="{BB962C8B-B14F-4D97-AF65-F5344CB8AC3E}">
        <p14:creationId xmlns:p14="http://schemas.microsoft.com/office/powerpoint/2010/main" val="3650996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  <p:sldLayoutId id="2147483847" r:id="rId12"/>
    <p:sldLayoutId id="2147483848" r:id="rId13"/>
    <p:sldLayoutId id="2147483849" r:id="rId14"/>
    <p:sldLayoutId id="2147483851" r:id="rId15"/>
    <p:sldLayoutId id="2147483852" r:id="rId16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0" kern="1200" spc="0" baseline="0" dirty="0">
          <a:ln w="6350" cap="flat">
            <a:noFill/>
            <a:miter lim="800000"/>
          </a:ln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913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8488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563" indent="-1476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2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2" orient="horz" pos="3912">
          <p15:clr>
            <a:srgbClr val="5ACBF0"/>
          </p15:clr>
        </p15:guide>
        <p15:guide id="3" orient="horz" pos="1075">
          <p15:clr>
            <a:srgbClr val="F26B43"/>
          </p15:clr>
        </p15:guide>
        <p15:guide id="4" pos="7329">
          <p15:clr>
            <a:srgbClr val="F26B43"/>
          </p15:clr>
        </p15:guide>
        <p15:guide id="5" pos="345">
          <p15:clr>
            <a:srgbClr val="F26B43"/>
          </p15:clr>
        </p15:guide>
        <p15:guide id="6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ADDC3B44-F2C0-4A96-A5BA-AEFFE70AEE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8" name="think-cell Slide" r:id="rId9" imgW="530" imgH="531" progId="TCLayout.ActiveDocument.1">
                  <p:embed/>
                </p:oleObj>
              </mc:Choice>
              <mc:Fallback>
                <p:oleObj name="think-cell Slide" r:id="rId9" imgW="530" imgH="53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ADDC3B44-F2C0-4A96-A5BA-AEFFE70AEE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24400" y="64862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6F84FA-B8EB-462F-97BA-032CB76B4E3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 descr="\\nwlondon.local\NWL\Communications\14. Logos, images and photos\Logos\NWLICS\NWL-ICS-logo-high-res.jpg"/>
          <p:cNvPicPr/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4433" y="6152907"/>
            <a:ext cx="2000251" cy="6667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34890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eur01.safelinks.protection.outlook.com/?url=https://www.gov.uk/government/publications/covid-19-vaccination-resources-for-children-aged-5-to-11-years&amp;data=04|01|Jenny.Solomons@harrow.gov.uk|3999401d15ed4e8a83d708d9ea1533eb|d2c39953a8db4c3c97f2d2dc76fb3e2c|1|0|637798199052548652|Unknown|TWFpbGZsb3d8eyJWIjoiMC4wLjAwMDAiLCJQIjoiV2luMzIiLCJBTiI6Ik1haWwiLCJXVCI6Mn0%3D|3000&amp;sdata=dReNQtY41Ibmfcanu1OtD4ZQ%2BybO8b00i/25FQLc%2BMc%3D&amp;reserved=0" TargetMode="External"/><Relationship Id="rId2" Type="http://schemas.openxmlformats.org/officeDocument/2006/relationships/hyperlink" Target="https://eur01.safelinks.protection.outlook.com/?url=https://www.nwlondonccg.nhs.uk/coronavirus/vaccine-centres/approved-vaccination-sites-children-and-young-people&amp;data=04|01|Jenny.Solomons@harrow.gov.uk|3999401d15ed4e8a83d708d9ea1533eb|d2c39953a8db4c3c97f2d2dc76fb3e2c|1|0|637798199052548652|Unknown|TWFpbGZsb3d8eyJWIjoiMC4wLjAwMDAiLCJQIjoiV2luMzIiLCJBTiI6Ik1haWwiLCJXVCI6Mn0%3D|3000&amp;sdata=bmU/pgruMvAfOnLSCvkiRAMLbQxPMN9ccLfaE81wnX4%3D&amp;reserved=0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Harrow Vaccination Update 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smtClean="0"/>
              <a:t>Isha Coombes – Borough Director </a:t>
            </a:r>
          </a:p>
          <a:p>
            <a:r>
              <a:rPr lang="en-GB" dirty="0" smtClean="0"/>
              <a:t>10th February 2022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44991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07368" y="1240218"/>
            <a:ext cx="11386643" cy="4942867"/>
          </a:xfrm>
        </p:spPr>
        <p:txBody>
          <a:bodyPr>
            <a:noAutofit/>
          </a:bodyPr>
          <a:lstStyle/>
          <a:p>
            <a:pPr algn="just">
              <a:lnSpc>
                <a:spcPct val="100000"/>
              </a:lnSpc>
            </a:pPr>
            <a:r>
              <a:rPr lang="en-GB" sz="1600" dirty="0" smtClean="0"/>
              <a:t>Harrow has delivered over 465,000 vaccinations to date - 179,000 first doses,167,000 second doses and 124,000 booster doses. </a:t>
            </a:r>
          </a:p>
          <a:p>
            <a:pPr algn="just"/>
            <a:r>
              <a:rPr lang="en-GB" sz="1600" dirty="0" smtClean="0"/>
              <a:t>Demand </a:t>
            </a:r>
            <a:r>
              <a:rPr lang="en-GB" sz="1600" dirty="0"/>
              <a:t>for vaccinations more generally has dropped </a:t>
            </a:r>
            <a:r>
              <a:rPr lang="en-GB" sz="1600" dirty="0" smtClean="0"/>
              <a:t>across the </a:t>
            </a:r>
            <a:r>
              <a:rPr lang="en-GB" sz="1600" dirty="0" smtClean="0"/>
              <a:t>North West London</a:t>
            </a:r>
            <a:r>
              <a:rPr lang="en-GB" sz="1600" dirty="0" smtClean="0"/>
              <a:t> </a:t>
            </a:r>
            <a:r>
              <a:rPr lang="en-GB" sz="1600" dirty="0" smtClean="0"/>
              <a:t>with </a:t>
            </a:r>
            <a:r>
              <a:rPr lang="en-GB" sz="1600" dirty="0"/>
              <a:t>all pillars now seeing significant reductions in booked or walk-in appointments.  </a:t>
            </a:r>
          </a:p>
          <a:p>
            <a:pPr algn="just"/>
            <a:r>
              <a:rPr lang="en-GB" sz="1600" dirty="0"/>
              <a:t>Refining the </a:t>
            </a:r>
            <a:r>
              <a:rPr lang="en-GB" sz="1600" dirty="0" smtClean="0"/>
              <a:t>communications </a:t>
            </a:r>
            <a:r>
              <a:rPr lang="en-GB" sz="1600" dirty="0"/>
              <a:t>message for those that have not yet come forward is becoming harder and thus general thinking about how to reframe the vaccine offer within a wider discussion around health now being actively considered. </a:t>
            </a:r>
            <a:endParaRPr lang="en-GB" sz="1600" dirty="0" smtClean="0"/>
          </a:p>
          <a:p>
            <a:pPr algn="just"/>
            <a:r>
              <a:rPr lang="en-GB" sz="1600" dirty="0" smtClean="0"/>
              <a:t>As part of the  NHSE inequalities initiative we are working with general practices on innovative </a:t>
            </a:r>
            <a:r>
              <a:rPr lang="en-GB" sz="1600" dirty="0"/>
              <a:t>community engagement projects. </a:t>
            </a:r>
            <a:r>
              <a:rPr lang="en-GB" sz="1600" dirty="0" smtClean="0"/>
              <a:t>General Practices</a:t>
            </a:r>
            <a:r>
              <a:rPr lang="en-GB" sz="1600" dirty="0" smtClean="0"/>
              <a:t> </a:t>
            </a:r>
            <a:r>
              <a:rPr lang="en-GB" sz="1600" dirty="0"/>
              <a:t>have made over 5000 </a:t>
            </a:r>
            <a:r>
              <a:rPr lang="en-GB" sz="1600" dirty="0" smtClean="0"/>
              <a:t>calls during the last 2-weeks, </a:t>
            </a:r>
            <a:r>
              <a:rPr lang="en-GB" sz="1600" dirty="0"/>
              <a:t>with 60% not being able to get through, 7% converting to bookings, and 6% confirming they decline the vaccination</a:t>
            </a:r>
          </a:p>
          <a:p>
            <a:pPr algn="just">
              <a:lnSpc>
                <a:spcPct val="100000"/>
              </a:lnSpc>
            </a:pPr>
            <a:r>
              <a:rPr lang="en-GB" sz="1600" dirty="0" smtClean="0"/>
              <a:t>Joint initiative between Harrow </a:t>
            </a:r>
            <a:r>
              <a:rPr lang="en-GB" sz="1600" dirty="0" smtClean="0"/>
              <a:t>and Brent </a:t>
            </a:r>
            <a:r>
              <a:rPr lang="en-GB" sz="1600" dirty="0" smtClean="0"/>
              <a:t>to support a </a:t>
            </a:r>
            <a:r>
              <a:rPr lang="en-GB" sz="1600" dirty="0"/>
              <a:t>mobile vaccination unit in Morrison’s car park on Honeypot Lane – the supermarket serves residents on the east of the borough and where </a:t>
            </a:r>
            <a:r>
              <a:rPr lang="en-GB" sz="1600" dirty="0" smtClean="0"/>
              <a:t>there are communities with low rates of uptake</a:t>
            </a:r>
            <a:endParaRPr lang="en-GB" sz="1600" dirty="0" smtClean="0"/>
          </a:p>
          <a:p>
            <a:pPr algn="just">
              <a:lnSpc>
                <a:spcPct val="100000"/>
              </a:lnSpc>
            </a:pPr>
            <a:r>
              <a:rPr lang="en-GB" sz="1600" dirty="0" smtClean="0"/>
              <a:t>Started </a:t>
            </a:r>
            <a:r>
              <a:rPr lang="en-GB" sz="1600" dirty="0" smtClean="0"/>
              <a:t>vaccinating </a:t>
            </a:r>
            <a:r>
              <a:rPr lang="en-GB" sz="1600" dirty="0"/>
              <a:t>clinically at risk 5-11s, </a:t>
            </a:r>
            <a:r>
              <a:rPr lang="en-GB" sz="1600" dirty="0" smtClean="0"/>
              <a:t>clinics started 12 February 2022, </a:t>
            </a:r>
            <a:r>
              <a:rPr lang="en-GB" sz="1600" dirty="0" smtClean="0"/>
              <a:t>to maximise uptake during the half term. In collaboration with </a:t>
            </a:r>
            <a:r>
              <a:rPr lang="en-GB" sz="1600" dirty="0" smtClean="0"/>
              <a:t> Harrow </a:t>
            </a:r>
            <a:r>
              <a:rPr lang="en-GB" sz="1600" dirty="0"/>
              <a:t>C</a:t>
            </a:r>
            <a:r>
              <a:rPr lang="en-GB" sz="1600" dirty="0" smtClean="0"/>
              <a:t>ouncil </a:t>
            </a:r>
            <a:r>
              <a:rPr lang="en-GB" sz="1600" dirty="0" smtClean="0"/>
              <a:t>and NWL communication team </a:t>
            </a:r>
            <a:r>
              <a:rPr lang="en-GB" sz="1600" dirty="0" smtClean="0"/>
              <a:t>we have </a:t>
            </a:r>
            <a:r>
              <a:rPr lang="en-GB" sz="1600" dirty="0"/>
              <a:t>developed the following message which they have put out through their </a:t>
            </a:r>
            <a:r>
              <a:rPr lang="en-GB" sz="1600" dirty="0" smtClean="0"/>
              <a:t>channels:</a:t>
            </a:r>
            <a:endParaRPr lang="en-GB" sz="1600" dirty="0"/>
          </a:p>
          <a:p>
            <a:pPr lvl="1"/>
            <a:r>
              <a:rPr lang="en-GB" sz="1200" i="1" dirty="0"/>
              <a:t>Vulnerable children aged 5-11 are now eligible for a dose of the </a:t>
            </a:r>
            <a:r>
              <a:rPr lang="en-GB" sz="1200" i="1" dirty="0" err="1"/>
              <a:t>Covid</a:t>
            </a:r>
            <a:r>
              <a:rPr lang="en-GB" sz="1200" i="1" dirty="0"/>
              <a:t> vaccine</a:t>
            </a:r>
            <a:r>
              <a:rPr lang="en-GB" sz="1200" i="1" dirty="0" smtClean="0"/>
              <a:t>.</a:t>
            </a:r>
            <a:endParaRPr lang="en-GB" sz="1200" dirty="0"/>
          </a:p>
          <a:p>
            <a:pPr lvl="1"/>
            <a:r>
              <a:rPr lang="en-GB" sz="1200" i="1" dirty="0"/>
              <a:t>If you are a parent or guardian of a vulnerable child, your GP will be in touch with you about arranging an appointment at an </a:t>
            </a:r>
            <a:r>
              <a:rPr lang="en-GB" sz="1200" i="1" u="sng" dirty="0">
                <a:hlinkClick r:id="rId2"/>
              </a:rPr>
              <a:t>approved site</a:t>
            </a:r>
            <a:r>
              <a:rPr lang="en-GB" sz="1200" i="1" dirty="0"/>
              <a:t>. Currently, you cannot book an appointment on the national booking system. </a:t>
            </a:r>
            <a:endParaRPr lang="en-GB" sz="1200" dirty="0"/>
          </a:p>
          <a:p>
            <a:pPr lvl="1"/>
            <a:r>
              <a:rPr lang="en-GB" sz="1200" i="1" u="sng" dirty="0">
                <a:hlinkClick r:id="rId3"/>
              </a:rPr>
              <a:t>Find out more</a:t>
            </a:r>
            <a:r>
              <a:rPr lang="en-GB" sz="1200" i="1" dirty="0"/>
              <a:t> about the rollout of the vaccine to children aged 5-11.</a:t>
            </a:r>
            <a:endParaRPr lang="en-GB" sz="1200" dirty="0"/>
          </a:p>
          <a:p>
            <a:pPr>
              <a:lnSpc>
                <a:spcPct val="100000"/>
              </a:lnSpc>
            </a:pPr>
            <a:endParaRPr lang="en-GB" sz="1400" dirty="0"/>
          </a:p>
          <a:p>
            <a:pPr>
              <a:lnSpc>
                <a:spcPct val="100000"/>
              </a:lnSpc>
            </a:pPr>
            <a:endParaRPr lang="en-GB" sz="1400" dirty="0"/>
          </a:p>
          <a:p>
            <a:pPr>
              <a:lnSpc>
                <a:spcPct val="100000"/>
              </a:lnSpc>
            </a:pPr>
            <a:endParaRPr lang="en-GB" sz="1400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6F84FA-B8EB-462F-97BA-032CB76B4E3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Key Messages </a:t>
            </a:r>
          </a:p>
        </p:txBody>
      </p:sp>
    </p:spTree>
    <p:extLst>
      <p:ext uri="{BB962C8B-B14F-4D97-AF65-F5344CB8AC3E}">
        <p14:creationId xmlns:p14="http://schemas.microsoft.com/office/powerpoint/2010/main" val="24319729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6F84FA-B8EB-462F-97BA-032CB76B4E3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07368" y="174172"/>
            <a:ext cx="11377264" cy="696006"/>
          </a:xfrm>
        </p:spPr>
        <p:txBody>
          <a:bodyPr>
            <a:noAutofit/>
          </a:bodyPr>
          <a:lstStyle/>
          <a:p>
            <a:pPr fontAlgn="b">
              <a:spcBef>
                <a:spcPts val="0"/>
              </a:spcBef>
            </a:pPr>
            <a:r>
              <a:rPr lang="en-GB" sz="3200" dirty="0"/>
              <a:t/>
            </a:r>
            <a:br>
              <a:rPr lang="en-GB" sz="3200" dirty="0"/>
            </a:br>
            <a:r>
              <a:rPr lang="en-GB" sz="3200" dirty="0"/>
              <a:t>1</a:t>
            </a:r>
            <a:r>
              <a:rPr lang="en-GB" sz="3200" baseline="30000" dirty="0"/>
              <a:t>St</a:t>
            </a:r>
            <a:r>
              <a:rPr lang="en-GB" sz="3200" dirty="0"/>
              <a:t> dose as % of population </a:t>
            </a:r>
          </a:p>
        </p:txBody>
      </p:sp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6259" y="9769928"/>
            <a:ext cx="1159518" cy="4775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5765" y="9769928"/>
            <a:ext cx="1176861" cy="4775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5227" y="9769928"/>
            <a:ext cx="760609" cy="4775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9403" y="9769928"/>
            <a:ext cx="1153224" cy="4775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2367" y="9685556"/>
            <a:ext cx="760609" cy="4775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5161" y="9573380"/>
            <a:ext cx="760609" cy="4775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3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16245300"/>
              </p:ext>
            </p:extLst>
          </p:nvPr>
        </p:nvGraphicFramePr>
        <p:xfrm>
          <a:off x="964733" y="1249969"/>
          <a:ext cx="9907398" cy="4539113"/>
        </p:xfrm>
        <a:graphic>
          <a:graphicData uri="http://schemas.openxmlformats.org/drawingml/2006/table">
            <a:tbl>
              <a:tblPr/>
              <a:tblGrid>
                <a:gridCol w="2343368">
                  <a:extLst>
                    <a:ext uri="{9D8B030D-6E8A-4147-A177-3AD203B41FA5}">
                      <a16:colId xmlns:a16="http://schemas.microsoft.com/office/drawing/2014/main" val="3132472702"/>
                    </a:ext>
                  </a:extLst>
                </a:gridCol>
                <a:gridCol w="756403">
                  <a:extLst>
                    <a:ext uri="{9D8B030D-6E8A-4147-A177-3AD203B41FA5}">
                      <a16:colId xmlns:a16="http://schemas.microsoft.com/office/drawing/2014/main" val="1773983892"/>
                    </a:ext>
                  </a:extLst>
                </a:gridCol>
                <a:gridCol w="756403">
                  <a:extLst>
                    <a:ext uri="{9D8B030D-6E8A-4147-A177-3AD203B41FA5}">
                      <a16:colId xmlns:a16="http://schemas.microsoft.com/office/drawing/2014/main" val="1903662027"/>
                    </a:ext>
                  </a:extLst>
                </a:gridCol>
                <a:gridCol w="756403">
                  <a:extLst>
                    <a:ext uri="{9D8B030D-6E8A-4147-A177-3AD203B41FA5}">
                      <a16:colId xmlns:a16="http://schemas.microsoft.com/office/drawing/2014/main" val="823225942"/>
                    </a:ext>
                  </a:extLst>
                </a:gridCol>
                <a:gridCol w="756403">
                  <a:extLst>
                    <a:ext uri="{9D8B030D-6E8A-4147-A177-3AD203B41FA5}">
                      <a16:colId xmlns:a16="http://schemas.microsoft.com/office/drawing/2014/main" val="1015141982"/>
                    </a:ext>
                  </a:extLst>
                </a:gridCol>
                <a:gridCol w="756403">
                  <a:extLst>
                    <a:ext uri="{9D8B030D-6E8A-4147-A177-3AD203B41FA5}">
                      <a16:colId xmlns:a16="http://schemas.microsoft.com/office/drawing/2014/main" val="3072945838"/>
                    </a:ext>
                  </a:extLst>
                </a:gridCol>
                <a:gridCol w="756403">
                  <a:extLst>
                    <a:ext uri="{9D8B030D-6E8A-4147-A177-3AD203B41FA5}">
                      <a16:colId xmlns:a16="http://schemas.microsoft.com/office/drawing/2014/main" val="3052215637"/>
                    </a:ext>
                  </a:extLst>
                </a:gridCol>
                <a:gridCol w="756403">
                  <a:extLst>
                    <a:ext uri="{9D8B030D-6E8A-4147-A177-3AD203B41FA5}">
                      <a16:colId xmlns:a16="http://schemas.microsoft.com/office/drawing/2014/main" val="875191895"/>
                    </a:ext>
                  </a:extLst>
                </a:gridCol>
                <a:gridCol w="756403">
                  <a:extLst>
                    <a:ext uri="{9D8B030D-6E8A-4147-A177-3AD203B41FA5}">
                      <a16:colId xmlns:a16="http://schemas.microsoft.com/office/drawing/2014/main" val="1880737394"/>
                    </a:ext>
                  </a:extLst>
                </a:gridCol>
                <a:gridCol w="756403">
                  <a:extLst>
                    <a:ext uri="{9D8B030D-6E8A-4147-A177-3AD203B41FA5}">
                      <a16:colId xmlns:a16="http://schemas.microsoft.com/office/drawing/2014/main" val="3741328111"/>
                    </a:ext>
                  </a:extLst>
                </a:gridCol>
                <a:gridCol w="756403">
                  <a:extLst>
                    <a:ext uri="{9D8B030D-6E8A-4147-A177-3AD203B41FA5}">
                      <a16:colId xmlns:a16="http://schemas.microsoft.com/office/drawing/2014/main" val="2003599744"/>
                    </a:ext>
                  </a:extLst>
                </a:gridCol>
              </a:tblGrid>
              <a:tr h="301886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% Uptak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2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ren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2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ntral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2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aling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2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&amp;F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2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arrow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2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illingdo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2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ounslow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2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est Londo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2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Unknow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2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2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8427258"/>
                  </a:ext>
                </a:extLst>
              </a:tr>
              <a:tr h="18076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re Home Residen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3825454"/>
                  </a:ext>
                </a:extLst>
              </a:tr>
              <a:tr h="18076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ontline healthcare worker (ESR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7610411"/>
                  </a:ext>
                </a:extLst>
              </a:tr>
              <a:tr h="18076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ontline healthcare worker (self declared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.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.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.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.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3390411"/>
                  </a:ext>
                </a:extLst>
              </a:tr>
              <a:tr h="18076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+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.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.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7934089"/>
                  </a:ext>
                </a:extLst>
              </a:tr>
              <a:tr h="18076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-7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.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.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0563640"/>
                  </a:ext>
                </a:extLst>
              </a:tr>
              <a:tr h="18076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inically Extremely Vulnerable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.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.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6654682"/>
                  </a:ext>
                </a:extLst>
              </a:tr>
              <a:tr h="18076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-7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.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.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.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330371"/>
                  </a:ext>
                </a:extLst>
              </a:tr>
              <a:tr h="18076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-6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.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.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.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.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9123838"/>
                  </a:ext>
                </a:extLst>
              </a:tr>
              <a:tr h="18076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arning Disability Registe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.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.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.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4606007"/>
                  </a:ext>
                </a:extLst>
              </a:tr>
              <a:tr h="18076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Covi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.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.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.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255044"/>
                  </a:ext>
                </a:extLst>
              </a:tr>
              <a:tr h="18076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WP Carer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.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238920"/>
                  </a:ext>
                </a:extLst>
              </a:tr>
              <a:tr h="18076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 Carer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.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.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.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.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.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9272212"/>
                  </a:ext>
                </a:extLst>
              </a:tr>
              <a:tr h="18076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 Risk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.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7543570"/>
                  </a:ext>
                </a:extLst>
              </a:tr>
              <a:tr h="18076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-6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.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.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.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8871211"/>
                  </a:ext>
                </a:extLst>
              </a:tr>
              <a:tr h="18076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-5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.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8565389"/>
                  </a:ext>
                </a:extLst>
              </a:tr>
              <a:tr h="18076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-5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.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.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.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5621958"/>
                  </a:ext>
                </a:extLst>
              </a:tr>
              <a:tr h="18076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4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.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.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5399266"/>
                  </a:ext>
                </a:extLst>
              </a:tr>
              <a:tr h="18076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-3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.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.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2934199"/>
                  </a:ext>
                </a:extLst>
              </a:tr>
              <a:tr h="18076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-2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.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.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.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3810547"/>
                  </a:ext>
                </a:extLst>
              </a:tr>
              <a:tr h="26030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-17 Household contacts of immunosuppresse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.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.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.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.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0940880"/>
                  </a:ext>
                </a:extLst>
              </a:tr>
              <a:tr h="18076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17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.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0016098"/>
                  </a:ext>
                </a:extLst>
              </a:tr>
              <a:tr h="180769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-1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.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.8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.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0555186"/>
                  </a:ext>
                </a:extLst>
              </a:tr>
              <a:tr h="180769"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.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.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.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.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.0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94444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075004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6F84FA-B8EB-462F-97BA-032CB76B4E3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Borough Level – 2</a:t>
            </a:r>
            <a:r>
              <a:rPr lang="en-GB" baseline="30000" dirty="0"/>
              <a:t>nd</a:t>
            </a:r>
            <a:r>
              <a:rPr lang="en-GB" dirty="0"/>
              <a:t> Dose as % of first dose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54028643"/>
              </p:ext>
            </p:extLst>
          </p:nvPr>
        </p:nvGraphicFramePr>
        <p:xfrm>
          <a:off x="981511" y="1233184"/>
          <a:ext cx="10066789" cy="4515230"/>
        </p:xfrm>
        <a:graphic>
          <a:graphicData uri="http://schemas.openxmlformats.org/drawingml/2006/table">
            <a:tbl>
              <a:tblPr/>
              <a:tblGrid>
                <a:gridCol w="2381069">
                  <a:extLst>
                    <a:ext uri="{9D8B030D-6E8A-4147-A177-3AD203B41FA5}">
                      <a16:colId xmlns:a16="http://schemas.microsoft.com/office/drawing/2014/main" val="3652165303"/>
                    </a:ext>
                  </a:extLst>
                </a:gridCol>
                <a:gridCol w="768572">
                  <a:extLst>
                    <a:ext uri="{9D8B030D-6E8A-4147-A177-3AD203B41FA5}">
                      <a16:colId xmlns:a16="http://schemas.microsoft.com/office/drawing/2014/main" val="2414227570"/>
                    </a:ext>
                  </a:extLst>
                </a:gridCol>
                <a:gridCol w="768572">
                  <a:extLst>
                    <a:ext uri="{9D8B030D-6E8A-4147-A177-3AD203B41FA5}">
                      <a16:colId xmlns:a16="http://schemas.microsoft.com/office/drawing/2014/main" val="4063831997"/>
                    </a:ext>
                  </a:extLst>
                </a:gridCol>
                <a:gridCol w="768572">
                  <a:extLst>
                    <a:ext uri="{9D8B030D-6E8A-4147-A177-3AD203B41FA5}">
                      <a16:colId xmlns:a16="http://schemas.microsoft.com/office/drawing/2014/main" val="821669935"/>
                    </a:ext>
                  </a:extLst>
                </a:gridCol>
                <a:gridCol w="768572">
                  <a:extLst>
                    <a:ext uri="{9D8B030D-6E8A-4147-A177-3AD203B41FA5}">
                      <a16:colId xmlns:a16="http://schemas.microsoft.com/office/drawing/2014/main" val="3807766947"/>
                    </a:ext>
                  </a:extLst>
                </a:gridCol>
                <a:gridCol w="768572">
                  <a:extLst>
                    <a:ext uri="{9D8B030D-6E8A-4147-A177-3AD203B41FA5}">
                      <a16:colId xmlns:a16="http://schemas.microsoft.com/office/drawing/2014/main" val="1611166513"/>
                    </a:ext>
                  </a:extLst>
                </a:gridCol>
                <a:gridCol w="768572">
                  <a:extLst>
                    <a:ext uri="{9D8B030D-6E8A-4147-A177-3AD203B41FA5}">
                      <a16:colId xmlns:a16="http://schemas.microsoft.com/office/drawing/2014/main" val="1808385316"/>
                    </a:ext>
                  </a:extLst>
                </a:gridCol>
                <a:gridCol w="768572">
                  <a:extLst>
                    <a:ext uri="{9D8B030D-6E8A-4147-A177-3AD203B41FA5}">
                      <a16:colId xmlns:a16="http://schemas.microsoft.com/office/drawing/2014/main" val="3474150225"/>
                    </a:ext>
                  </a:extLst>
                </a:gridCol>
                <a:gridCol w="768572">
                  <a:extLst>
                    <a:ext uri="{9D8B030D-6E8A-4147-A177-3AD203B41FA5}">
                      <a16:colId xmlns:a16="http://schemas.microsoft.com/office/drawing/2014/main" val="555152785"/>
                    </a:ext>
                  </a:extLst>
                </a:gridCol>
                <a:gridCol w="768572">
                  <a:extLst>
                    <a:ext uri="{9D8B030D-6E8A-4147-A177-3AD203B41FA5}">
                      <a16:colId xmlns:a16="http://schemas.microsoft.com/office/drawing/2014/main" val="427964117"/>
                    </a:ext>
                  </a:extLst>
                </a:gridCol>
                <a:gridCol w="768572">
                  <a:extLst>
                    <a:ext uri="{9D8B030D-6E8A-4147-A177-3AD203B41FA5}">
                      <a16:colId xmlns:a16="http://schemas.microsoft.com/office/drawing/2014/main" val="2356354029"/>
                    </a:ext>
                  </a:extLst>
                </a:gridCol>
              </a:tblGrid>
              <a:tr h="305022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% Uptake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2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rent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2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ntral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2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aling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2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&amp;F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2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arrow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2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illingdon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2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ounslow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2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est London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2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Unknown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2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2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5324821"/>
                  </a:ext>
                </a:extLst>
              </a:tr>
              <a:tr h="179425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re Home Resident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7305517"/>
                  </a:ext>
                </a:extLst>
              </a:tr>
              <a:tr h="179425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ontline healthcare worker (ESR)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032084"/>
                  </a:ext>
                </a:extLst>
              </a:tr>
              <a:tr h="179425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ontline healthcare worker (self declared)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292964"/>
                  </a:ext>
                </a:extLst>
              </a:tr>
              <a:tr h="179425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+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510217"/>
                  </a:ext>
                </a:extLst>
              </a:tr>
              <a:tr h="179425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-79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6569247"/>
                  </a:ext>
                </a:extLst>
              </a:tr>
              <a:tr h="179425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inically Extremely Vulnerable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9641611"/>
                  </a:ext>
                </a:extLst>
              </a:tr>
              <a:tr h="179425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-74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7717056"/>
                  </a:ext>
                </a:extLst>
              </a:tr>
              <a:tr h="179425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-69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0598244"/>
                  </a:ext>
                </a:extLst>
              </a:tr>
              <a:tr h="179425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arning Disability Register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7420671"/>
                  </a:ext>
                </a:extLst>
              </a:tr>
              <a:tr h="179425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Covid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6938408"/>
                  </a:ext>
                </a:extLst>
              </a:tr>
              <a:tr h="179425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WP Carers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6182618"/>
                  </a:ext>
                </a:extLst>
              </a:tr>
              <a:tr h="179425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 Carers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229709"/>
                  </a:ext>
                </a:extLst>
              </a:tr>
              <a:tr h="179425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 Risk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4695935"/>
                  </a:ext>
                </a:extLst>
              </a:tr>
              <a:tr h="179425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-64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4186566"/>
                  </a:ext>
                </a:extLst>
              </a:tr>
              <a:tr h="179425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-59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6463006"/>
                  </a:ext>
                </a:extLst>
              </a:tr>
              <a:tr h="179425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-54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4329017"/>
                  </a:ext>
                </a:extLst>
              </a:tr>
              <a:tr h="179425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49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4346288"/>
                  </a:ext>
                </a:extLst>
              </a:tr>
              <a:tr h="179425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-39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7894695"/>
                  </a:ext>
                </a:extLst>
              </a:tr>
              <a:tr h="179425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-29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568737"/>
                  </a:ext>
                </a:extLst>
              </a:tr>
              <a:tr h="262858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-17 Household contacts of immunosuppressed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6581767"/>
                  </a:ext>
                </a:extLst>
              </a:tr>
              <a:tr h="179425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17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9035326"/>
                  </a:ext>
                </a:extLst>
              </a:tr>
              <a:tr h="179425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-15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2098858"/>
                  </a:ext>
                </a:extLst>
              </a:tr>
              <a:tr h="179425"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02144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5105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6F84FA-B8EB-462F-97BA-032CB76B4E3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Booster Dose as % of 2</a:t>
            </a:r>
            <a:r>
              <a:rPr lang="en-GB" baseline="30000" dirty="0"/>
              <a:t>nd</a:t>
            </a:r>
            <a:r>
              <a:rPr lang="en-GB" dirty="0"/>
              <a:t> Doses </a:t>
            </a:r>
          </a:p>
        </p:txBody>
      </p:sp>
      <p:graphicFrame>
        <p:nvGraphicFramePr>
          <p:cNvPr id="7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26176232"/>
              </p:ext>
            </p:extLst>
          </p:nvPr>
        </p:nvGraphicFramePr>
        <p:xfrm>
          <a:off x="1166070" y="1275122"/>
          <a:ext cx="9781561" cy="4434400"/>
        </p:xfrm>
        <a:graphic>
          <a:graphicData uri="http://schemas.openxmlformats.org/drawingml/2006/table">
            <a:tbl>
              <a:tblPr/>
              <a:tblGrid>
                <a:gridCol w="2237701">
                  <a:extLst>
                    <a:ext uri="{9D8B030D-6E8A-4147-A177-3AD203B41FA5}">
                      <a16:colId xmlns:a16="http://schemas.microsoft.com/office/drawing/2014/main" val="3070348642"/>
                    </a:ext>
                  </a:extLst>
                </a:gridCol>
                <a:gridCol w="750366">
                  <a:extLst>
                    <a:ext uri="{9D8B030D-6E8A-4147-A177-3AD203B41FA5}">
                      <a16:colId xmlns:a16="http://schemas.microsoft.com/office/drawing/2014/main" val="479757404"/>
                    </a:ext>
                  </a:extLst>
                </a:gridCol>
                <a:gridCol w="750366">
                  <a:extLst>
                    <a:ext uri="{9D8B030D-6E8A-4147-A177-3AD203B41FA5}">
                      <a16:colId xmlns:a16="http://schemas.microsoft.com/office/drawing/2014/main" val="810929914"/>
                    </a:ext>
                  </a:extLst>
                </a:gridCol>
                <a:gridCol w="750366">
                  <a:extLst>
                    <a:ext uri="{9D8B030D-6E8A-4147-A177-3AD203B41FA5}">
                      <a16:colId xmlns:a16="http://schemas.microsoft.com/office/drawing/2014/main" val="2851550737"/>
                    </a:ext>
                  </a:extLst>
                </a:gridCol>
                <a:gridCol w="750366">
                  <a:extLst>
                    <a:ext uri="{9D8B030D-6E8A-4147-A177-3AD203B41FA5}">
                      <a16:colId xmlns:a16="http://schemas.microsoft.com/office/drawing/2014/main" val="3140135277"/>
                    </a:ext>
                  </a:extLst>
                </a:gridCol>
                <a:gridCol w="750366">
                  <a:extLst>
                    <a:ext uri="{9D8B030D-6E8A-4147-A177-3AD203B41FA5}">
                      <a16:colId xmlns:a16="http://schemas.microsoft.com/office/drawing/2014/main" val="2668227335"/>
                    </a:ext>
                  </a:extLst>
                </a:gridCol>
                <a:gridCol w="750366">
                  <a:extLst>
                    <a:ext uri="{9D8B030D-6E8A-4147-A177-3AD203B41FA5}">
                      <a16:colId xmlns:a16="http://schemas.microsoft.com/office/drawing/2014/main" val="4250323980"/>
                    </a:ext>
                  </a:extLst>
                </a:gridCol>
                <a:gridCol w="750366">
                  <a:extLst>
                    <a:ext uri="{9D8B030D-6E8A-4147-A177-3AD203B41FA5}">
                      <a16:colId xmlns:a16="http://schemas.microsoft.com/office/drawing/2014/main" val="3917999181"/>
                    </a:ext>
                  </a:extLst>
                </a:gridCol>
                <a:gridCol w="750366">
                  <a:extLst>
                    <a:ext uri="{9D8B030D-6E8A-4147-A177-3AD203B41FA5}">
                      <a16:colId xmlns:a16="http://schemas.microsoft.com/office/drawing/2014/main" val="581721984"/>
                    </a:ext>
                  </a:extLst>
                </a:gridCol>
                <a:gridCol w="696770">
                  <a:extLst>
                    <a:ext uri="{9D8B030D-6E8A-4147-A177-3AD203B41FA5}">
                      <a16:colId xmlns:a16="http://schemas.microsoft.com/office/drawing/2014/main" val="3432694600"/>
                    </a:ext>
                  </a:extLst>
                </a:gridCol>
                <a:gridCol w="844162">
                  <a:extLst>
                    <a:ext uri="{9D8B030D-6E8A-4147-A177-3AD203B41FA5}">
                      <a16:colId xmlns:a16="http://schemas.microsoft.com/office/drawing/2014/main" val="254538202"/>
                    </a:ext>
                  </a:extLst>
                </a:gridCol>
              </a:tblGrid>
              <a:tr h="299562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% Uptake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2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rent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2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ntral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2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aling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2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&amp;F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2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arrow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2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illingdon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2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ounslow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2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est London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2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Unknown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29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429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0138328"/>
                  </a:ext>
                </a:extLst>
              </a:tr>
              <a:tr h="17621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re Home Resident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662899"/>
                  </a:ext>
                </a:extLst>
              </a:tr>
              <a:tr h="17621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ontline healthcare worker (ESR)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1394345"/>
                  </a:ext>
                </a:extLst>
              </a:tr>
              <a:tr h="17621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ontline healthcare worker (self declared)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3642450"/>
                  </a:ext>
                </a:extLst>
              </a:tr>
              <a:tr h="17621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+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8510732"/>
                  </a:ext>
                </a:extLst>
              </a:tr>
              <a:tr h="17621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-79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2484325"/>
                  </a:ext>
                </a:extLst>
              </a:tr>
              <a:tr h="17621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inically Extremely Vulnerable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5369258"/>
                  </a:ext>
                </a:extLst>
              </a:tr>
              <a:tr h="17621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-74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7925714"/>
                  </a:ext>
                </a:extLst>
              </a:tr>
              <a:tr h="17621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-69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6673435"/>
                  </a:ext>
                </a:extLst>
              </a:tr>
              <a:tr h="17621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arning Disability Register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7940060"/>
                  </a:ext>
                </a:extLst>
              </a:tr>
              <a:tr h="17621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Covid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636320"/>
                  </a:ext>
                </a:extLst>
              </a:tr>
              <a:tr h="17621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WP Carers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5157822"/>
                  </a:ext>
                </a:extLst>
              </a:tr>
              <a:tr h="17621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 Carers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4329867"/>
                  </a:ext>
                </a:extLst>
              </a:tr>
              <a:tr h="17621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 Risk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6119187"/>
                  </a:ext>
                </a:extLst>
              </a:tr>
              <a:tr h="17621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-64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6091554"/>
                  </a:ext>
                </a:extLst>
              </a:tr>
              <a:tr h="17621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-59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1055294"/>
                  </a:ext>
                </a:extLst>
              </a:tr>
              <a:tr h="17621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-54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8166961"/>
                  </a:ext>
                </a:extLst>
              </a:tr>
              <a:tr h="17621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49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406201"/>
                  </a:ext>
                </a:extLst>
              </a:tr>
              <a:tr h="17621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-39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2664594"/>
                  </a:ext>
                </a:extLst>
              </a:tr>
              <a:tr h="17621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-29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5770610"/>
                  </a:ext>
                </a:extLst>
              </a:tr>
              <a:tr h="258152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-17 Household contacts of immunosuppressed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043751"/>
                  </a:ext>
                </a:extLst>
              </a:tr>
              <a:tr h="17621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17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7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6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3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9001437"/>
                  </a:ext>
                </a:extLst>
              </a:tr>
              <a:tr h="176213">
                <a:tc>
                  <a:txBody>
                    <a:bodyPr/>
                    <a:lstStyle/>
                    <a:p>
                      <a:pPr algn="l" fontAlgn="b"/>
                      <a:r>
                        <a:rPr lang="en-GB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-15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1145443"/>
                  </a:ext>
                </a:extLst>
              </a:tr>
              <a:tr h="176213">
                <a:tc>
                  <a:txBody>
                    <a:bodyPr/>
                    <a:lstStyle/>
                    <a:p>
                      <a:pPr algn="r" fontAlgn="b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4289" marR="4289" marT="428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5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.0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.2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9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8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.1%</a:t>
                      </a:r>
                    </a:p>
                  </a:txBody>
                  <a:tcPr marL="4289" marR="4289" marT="428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0637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03722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6F84FA-B8EB-462F-97BA-032CB76B4E3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Borough Level – </a:t>
            </a:r>
            <a:r>
              <a:rPr lang="en-GB" dirty="0" smtClean="0"/>
              <a:t>3rd </a:t>
            </a:r>
            <a:r>
              <a:rPr lang="en-GB" dirty="0"/>
              <a:t>Dose </a:t>
            </a:r>
            <a:r>
              <a:rPr lang="en-GB" dirty="0" smtClean="0"/>
              <a:t>for immunosuppressed as </a:t>
            </a:r>
            <a:r>
              <a:rPr lang="en-GB" dirty="0"/>
              <a:t>% of </a:t>
            </a:r>
            <a:r>
              <a:rPr lang="en-GB" dirty="0" smtClean="0"/>
              <a:t>2nd </a:t>
            </a:r>
            <a:r>
              <a:rPr lang="en-GB" dirty="0"/>
              <a:t>dose</a:t>
            </a:r>
          </a:p>
        </p:txBody>
      </p:sp>
      <p:sp>
        <p:nvSpPr>
          <p:cNvPr id="8" name="Content Placeholder 1"/>
          <p:cNvSpPr txBox="1">
            <a:spLocks/>
          </p:cNvSpPr>
          <p:nvPr/>
        </p:nvSpPr>
        <p:spPr>
          <a:xfrm>
            <a:off x="6787758" y="2605537"/>
            <a:ext cx="4996874" cy="24152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rrow has the highest uptake (86.29%) of 3</a:t>
            </a:r>
            <a:r>
              <a:rPr kumimoji="0" lang="en-GB" sz="2000" b="0" i="0" u="none" strike="noStrike" kern="1200" cap="none" spc="0" normalizeH="0" baseline="3000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d</a:t>
            </a:r>
            <a:r>
              <a:rPr kumimoji="0" lang="en-GB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oses for the immunosuppressed 16-64 cohort.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 further 552 3</a:t>
            </a:r>
            <a:r>
              <a:rPr kumimoji="0" lang="en-GB" sz="2000" b="0" i="0" u="none" strike="noStrike" kern="1200" cap="none" spc="0" normalizeH="0" baseline="3000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d</a:t>
            </a:r>
            <a:r>
              <a:rPr kumimoji="0" lang="en-GB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oses have been delivered for immunosuppressed patients</a:t>
            </a:r>
            <a:r>
              <a:rPr kumimoji="0" lang="en-GB" sz="20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included within other cohort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1061741"/>
              </p:ext>
            </p:extLst>
          </p:nvPr>
        </p:nvGraphicFramePr>
        <p:xfrm>
          <a:off x="407369" y="1398545"/>
          <a:ext cx="11618375" cy="568800"/>
        </p:xfrm>
        <a:graphic>
          <a:graphicData uri="http://schemas.openxmlformats.org/drawingml/2006/table">
            <a:tbl>
              <a:tblPr/>
              <a:tblGrid>
                <a:gridCol w="2959558">
                  <a:extLst>
                    <a:ext uri="{9D8B030D-6E8A-4147-A177-3AD203B41FA5}">
                      <a16:colId xmlns:a16="http://schemas.microsoft.com/office/drawing/2014/main" val="2629712447"/>
                    </a:ext>
                  </a:extLst>
                </a:gridCol>
                <a:gridCol w="727205">
                  <a:extLst>
                    <a:ext uri="{9D8B030D-6E8A-4147-A177-3AD203B41FA5}">
                      <a16:colId xmlns:a16="http://schemas.microsoft.com/office/drawing/2014/main" val="1598368592"/>
                    </a:ext>
                  </a:extLst>
                </a:gridCol>
                <a:gridCol w="744117">
                  <a:extLst>
                    <a:ext uri="{9D8B030D-6E8A-4147-A177-3AD203B41FA5}">
                      <a16:colId xmlns:a16="http://schemas.microsoft.com/office/drawing/2014/main" val="3538152851"/>
                    </a:ext>
                  </a:extLst>
                </a:gridCol>
                <a:gridCol w="901961">
                  <a:extLst>
                    <a:ext uri="{9D8B030D-6E8A-4147-A177-3AD203B41FA5}">
                      <a16:colId xmlns:a16="http://schemas.microsoft.com/office/drawing/2014/main" val="4151877989"/>
                    </a:ext>
                  </a:extLst>
                </a:gridCol>
                <a:gridCol w="879411">
                  <a:extLst>
                    <a:ext uri="{9D8B030D-6E8A-4147-A177-3AD203B41FA5}">
                      <a16:colId xmlns:a16="http://schemas.microsoft.com/office/drawing/2014/main" val="1077173513"/>
                    </a:ext>
                  </a:extLst>
                </a:gridCol>
                <a:gridCol w="1200734">
                  <a:extLst>
                    <a:ext uri="{9D8B030D-6E8A-4147-A177-3AD203B41FA5}">
                      <a16:colId xmlns:a16="http://schemas.microsoft.com/office/drawing/2014/main" val="275989767"/>
                    </a:ext>
                  </a:extLst>
                </a:gridCol>
                <a:gridCol w="1172549">
                  <a:extLst>
                    <a:ext uri="{9D8B030D-6E8A-4147-A177-3AD203B41FA5}">
                      <a16:colId xmlns:a16="http://schemas.microsoft.com/office/drawing/2014/main" val="1963435985"/>
                    </a:ext>
                  </a:extLst>
                </a:gridCol>
                <a:gridCol w="1104901">
                  <a:extLst>
                    <a:ext uri="{9D8B030D-6E8A-4147-A177-3AD203B41FA5}">
                      <a16:colId xmlns:a16="http://schemas.microsoft.com/office/drawing/2014/main" val="599119794"/>
                    </a:ext>
                  </a:extLst>
                </a:gridCol>
                <a:gridCol w="1200734">
                  <a:extLst>
                    <a:ext uri="{9D8B030D-6E8A-4147-A177-3AD203B41FA5}">
                      <a16:colId xmlns:a16="http://schemas.microsoft.com/office/drawing/2014/main" val="2971279725"/>
                    </a:ext>
                  </a:extLst>
                </a:gridCol>
                <a:gridCol w="727205">
                  <a:extLst>
                    <a:ext uri="{9D8B030D-6E8A-4147-A177-3AD203B41FA5}">
                      <a16:colId xmlns:a16="http://schemas.microsoft.com/office/drawing/2014/main" val="2641357842"/>
                    </a:ext>
                  </a:extLst>
                </a:gridCol>
              </a:tblGrid>
              <a:tr h="284400"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% Uptake 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ren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ntra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al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&amp;F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arrow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illingdo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Hounslow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est Londo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9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3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6200015"/>
                  </a:ext>
                </a:extLst>
              </a:tr>
              <a:tr h="284400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munosupression (16-64)</a:t>
                      </a:r>
                    </a:p>
                  </a:txBody>
                  <a:tcPr marL="9525" marR="9525" marT="9525" marB="0" anchor="b">
                    <a:lnL w="25400" cap="flat" cmpd="dbl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.3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31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28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.58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.61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.86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.58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.11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D79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.35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30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5594993"/>
                  </a:ext>
                </a:extLst>
              </a:tr>
            </a:tbl>
          </a:graphicData>
        </a:graphic>
      </p:graphicFrame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55489597"/>
              </p:ext>
            </p:extLst>
          </p:nvPr>
        </p:nvGraphicFramePr>
        <p:xfrm>
          <a:off x="407368" y="2495713"/>
          <a:ext cx="6019799" cy="2381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563354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F84FA-B8EB-462F-97BA-032CB76B4E3A}" type="slidenum">
              <a:rPr lang="en-GB" smtClean="0"/>
              <a:t>7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sz="3600" dirty="0"/>
              <a:t>12-15 year olds uptake by Health Boroughs</a:t>
            </a:r>
            <a:endParaRPr lang="en-GB" sz="3600" dirty="0">
              <a:solidFill>
                <a:srgbClr val="FF0000"/>
              </a:solidFill>
            </a:endParaRPr>
          </a:p>
        </p:txBody>
      </p:sp>
      <p:pic>
        <p:nvPicPr>
          <p:cNvPr id="7" name="Content Placeholder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80457" y="1725701"/>
            <a:ext cx="9111343" cy="3822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4334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8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White">
  <a:themeElements>
    <a:clrScheme name="Scheme1">
      <a:dk1>
        <a:srgbClr val="000000"/>
      </a:dk1>
      <a:lt1>
        <a:srgbClr val="FFFFFF"/>
      </a:lt1>
      <a:dk2>
        <a:srgbClr val="005EB8"/>
      </a:dk2>
      <a:lt2>
        <a:srgbClr val="FFFFFF"/>
      </a:lt2>
      <a:accent1>
        <a:srgbClr val="003087"/>
      </a:accent1>
      <a:accent2>
        <a:srgbClr val="433087"/>
      </a:accent2>
      <a:accent3>
        <a:srgbClr val="41B6E6"/>
      </a:accent3>
      <a:accent4>
        <a:srgbClr val="005EB8"/>
      </a:accent4>
      <a:accent5>
        <a:srgbClr val="330071"/>
      </a:accent5>
      <a:accent6>
        <a:srgbClr val="009638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005EB8"/>
        </a:dk2>
        <a:lt2>
          <a:srgbClr val="FFFFFF"/>
        </a:lt2>
        <a:accent1>
          <a:srgbClr val="003087"/>
        </a:accent1>
        <a:accent2>
          <a:srgbClr val="433087"/>
        </a:accent2>
        <a:accent3>
          <a:srgbClr val="41B6E6"/>
        </a:accent3>
        <a:accent4>
          <a:srgbClr val="005EB8"/>
        </a:accent4>
        <a:accent5>
          <a:srgbClr val="330071"/>
        </a:accent5>
        <a:accent6>
          <a:srgbClr val="009638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NHS Template.potx" id="{8A941708-AC89-4D20-8110-DE96E0F02DFB}" vid="{5F25CF2C-7BF4-4C23-B01E-4BB876D6AA4D}"/>
    </a:ext>
  </a:extLst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4803</TotalTime>
  <Words>1978</Words>
  <Application>Microsoft Office PowerPoint</Application>
  <PresentationFormat>Widescreen</PresentationFormat>
  <Paragraphs>840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Arial</vt:lpstr>
      <vt:lpstr>Calibri</vt:lpstr>
      <vt:lpstr>Calibri Light</vt:lpstr>
      <vt:lpstr>Segoe UI</vt:lpstr>
      <vt:lpstr>Wingdings</vt:lpstr>
      <vt:lpstr>1_Office Theme</vt:lpstr>
      <vt:lpstr>8_Custom Design</vt:lpstr>
      <vt:lpstr>2_White</vt:lpstr>
      <vt:lpstr>2_Office Theme</vt:lpstr>
      <vt:lpstr>think-cell Slide</vt:lpstr>
      <vt:lpstr>Harrow Vaccination Update </vt:lpstr>
      <vt:lpstr>Key Messages </vt:lpstr>
      <vt:lpstr> 1St dose as % of population </vt:lpstr>
      <vt:lpstr>Borough Level – 2nd Dose as % of first dose</vt:lpstr>
      <vt:lpstr>Booster Dose as % of 2nd Doses </vt:lpstr>
      <vt:lpstr>Borough Level – 3rd Dose for immunosuppressed as % of 2nd dose</vt:lpstr>
      <vt:lpstr>12-15 year olds uptake by Health Boroughs</vt:lpstr>
    </vt:vector>
  </TitlesOfParts>
  <Company>NWLONDONCCG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WL Vaccination Programme Update</dc:title>
  <dc:creator>isha coombes</dc:creator>
  <cp:lastModifiedBy>Isha Coombes</cp:lastModifiedBy>
  <cp:revision>318</cp:revision>
  <dcterms:created xsi:type="dcterms:W3CDTF">2021-07-12T15:34:41Z</dcterms:created>
  <dcterms:modified xsi:type="dcterms:W3CDTF">2022-02-11T12:19:38Z</dcterms:modified>
</cp:coreProperties>
</file>